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3" r:id="rId1"/>
  </p:sldMasterIdLst>
  <p:notesMasterIdLst>
    <p:notesMasterId r:id="rId13"/>
  </p:notesMasterIdLst>
  <p:handoutMasterIdLst>
    <p:handoutMasterId r:id="rId14"/>
  </p:handoutMasterIdLst>
  <p:sldIdLst>
    <p:sldId id="669" r:id="rId2"/>
    <p:sldId id="670" r:id="rId3"/>
    <p:sldId id="679" r:id="rId4"/>
    <p:sldId id="672" r:id="rId5"/>
    <p:sldId id="673" r:id="rId6"/>
    <p:sldId id="674" r:id="rId7"/>
    <p:sldId id="675" r:id="rId8"/>
    <p:sldId id="678" r:id="rId9"/>
    <p:sldId id="677" r:id="rId10"/>
    <p:sldId id="666" r:id="rId11"/>
    <p:sldId id="676" r:id="rId12"/>
  </p:sldIdLst>
  <p:sldSz cx="9144000" cy="6858000" type="screen4x3"/>
  <p:notesSz cx="7099300" cy="10234613"/>
  <p:custDataLst>
    <p:tags r:id="rId15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FFFFCC"/>
    <a:srgbClr val="FFCC66"/>
    <a:srgbClr val="66CCFF"/>
    <a:srgbClr val="FFCC00"/>
    <a:srgbClr val="3333FF"/>
    <a:srgbClr val="F8F8F8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Estilo Claro 1 - Ênfas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9879" autoAdjust="0"/>
  </p:normalViewPr>
  <p:slideViewPr>
    <p:cSldViewPr>
      <p:cViewPr>
        <p:scale>
          <a:sx n="96" d="100"/>
          <a:sy n="96" d="100"/>
        </p:scale>
        <p:origin x="-922" y="-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872"/>
    </p:cViewPr>
  </p:sorterViewPr>
  <p:notesViewPr>
    <p:cSldViewPr>
      <p:cViewPr varScale="1">
        <p:scale>
          <a:sx n="49" d="100"/>
          <a:sy n="49" d="100"/>
        </p:scale>
        <p:origin x="-3006" y="-114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F7A0EA-1875-4A65-89A1-70491F136048}" type="doc">
      <dgm:prSet loTypeId="urn:microsoft.com/office/officeart/2005/8/layout/radial5" loCatId="relationship" qsTypeId="urn:microsoft.com/office/officeart/2005/8/quickstyle/simple5" qsCatId="simple" csTypeId="urn:microsoft.com/office/officeart/2005/8/colors/accent1_1" csCatId="accent1" phldr="1"/>
      <dgm:spPr/>
      <dgm:t>
        <a:bodyPr/>
        <a:lstStyle/>
        <a:p>
          <a:endParaRPr lang="pt-BR"/>
        </a:p>
      </dgm:t>
    </dgm:pt>
    <dgm:pt modelId="{BE9CED94-0575-4729-BB3C-8214DE0F7960}">
      <dgm:prSet phldrT="[Texto]"/>
      <dgm:spPr>
        <a:solidFill>
          <a:srgbClr val="FFCC66"/>
        </a:solidFill>
      </dgm:spPr>
      <dgm:t>
        <a:bodyPr/>
        <a:lstStyle/>
        <a:p>
          <a:endParaRPr lang="pt-BR" b="1" dirty="0" smtClean="0"/>
        </a:p>
        <a:p>
          <a:endParaRPr lang="pt-BR" b="1" dirty="0"/>
        </a:p>
      </dgm:t>
    </dgm:pt>
    <dgm:pt modelId="{103612AB-940C-4466-838E-2CF57C32FDB6}" type="parTrans" cxnId="{A1A17C61-956D-4CF6-B2D2-60263F7BAA03}">
      <dgm:prSet/>
      <dgm:spPr/>
      <dgm:t>
        <a:bodyPr/>
        <a:lstStyle/>
        <a:p>
          <a:endParaRPr lang="pt-BR"/>
        </a:p>
      </dgm:t>
    </dgm:pt>
    <dgm:pt modelId="{AAFF2B9B-2992-41A4-966D-77FB57EED8F8}" type="sibTrans" cxnId="{A1A17C61-956D-4CF6-B2D2-60263F7BAA03}">
      <dgm:prSet/>
      <dgm:spPr/>
      <dgm:t>
        <a:bodyPr/>
        <a:lstStyle/>
        <a:p>
          <a:endParaRPr lang="pt-BR"/>
        </a:p>
      </dgm:t>
    </dgm:pt>
    <dgm:pt modelId="{C760A5F5-8D53-4804-9B00-ED697780B74F}">
      <dgm:prSet phldrT="[Texto]" custT="1"/>
      <dgm:spPr>
        <a:solidFill>
          <a:srgbClr val="FFCC66"/>
        </a:solidFill>
      </dgm:spPr>
      <dgm:t>
        <a:bodyPr/>
        <a:lstStyle/>
        <a:p>
          <a:endParaRPr lang="pt-BR" sz="1200" dirty="0"/>
        </a:p>
      </dgm:t>
    </dgm:pt>
    <dgm:pt modelId="{96929E85-4E35-4F7A-97D5-9555AF97747B}" type="parTrans" cxnId="{313D8E8E-BBA9-46D1-B836-F01E9E6E8A47}">
      <dgm:prSet/>
      <dgm:spPr>
        <a:solidFill>
          <a:schemeClr val="tx2">
            <a:lumMod val="60000"/>
            <a:lumOff val="40000"/>
          </a:schemeClr>
        </a:solidFill>
        <a:ln>
          <a:solidFill>
            <a:schemeClr val="tx2">
              <a:lumMod val="60000"/>
              <a:lumOff val="40000"/>
            </a:schemeClr>
          </a:solidFill>
        </a:ln>
      </dgm:spPr>
      <dgm:t>
        <a:bodyPr/>
        <a:lstStyle/>
        <a:p>
          <a:endParaRPr lang="pt-BR"/>
        </a:p>
      </dgm:t>
    </dgm:pt>
    <dgm:pt modelId="{0216FC0E-0133-481B-A472-756BB0332F02}" type="sibTrans" cxnId="{313D8E8E-BBA9-46D1-B836-F01E9E6E8A47}">
      <dgm:prSet/>
      <dgm:spPr/>
      <dgm:t>
        <a:bodyPr/>
        <a:lstStyle/>
        <a:p>
          <a:endParaRPr lang="pt-BR"/>
        </a:p>
      </dgm:t>
    </dgm:pt>
    <dgm:pt modelId="{6D25B376-0BB8-46FE-A3B8-B6DDA0CF6937}">
      <dgm:prSet phldrT="[Texto]" custT="1"/>
      <dgm:spPr>
        <a:solidFill>
          <a:srgbClr val="FFCC66"/>
        </a:solidFill>
      </dgm:spPr>
      <dgm:t>
        <a:bodyPr/>
        <a:lstStyle/>
        <a:p>
          <a:endParaRPr lang="pt-BR" sz="1200" dirty="0"/>
        </a:p>
      </dgm:t>
    </dgm:pt>
    <dgm:pt modelId="{934BA433-1848-41F8-8696-1C82E530CA87}" type="parTrans" cxnId="{ECF1673B-6E68-4869-A04D-D7FF80D952F8}">
      <dgm:prSet/>
      <dgm:spPr>
        <a:solidFill>
          <a:schemeClr val="accent1"/>
        </a:solidFill>
      </dgm:spPr>
      <dgm:t>
        <a:bodyPr/>
        <a:lstStyle/>
        <a:p>
          <a:endParaRPr lang="pt-BR" dirty="0"/>
        </a:p>
      </dgm:t>
    </dgm:pt>
    <dgm:pt modelId="{413336E8-A6DD-411B-8580-4201CF4FC2ED}" type="sibTrans" cxnId="{ECF1673B-6E68-4869-A04D-D7FF80D952F8}">
      <dgm:prSet/>
      <dgm:spPr/>
      <dgm:t>
        <a:bodyPr/>
        <a:lstStyle/>
        <a:p>
          <a:endParaRPr lang="pt-BR"/>
        </a:p>
      </dgm:t>
    </dgm:pt>
    <dgm:pt modelId="{96157984-D939-4647-A3D3-9BBFB4D76932}">
      <dgm:prSet phldrT="[Texto]" custT="1"/>
      <dgm:spPr>
        <a:solidFill>
          <a:srgbClr val="FFCC66"/>
        </a:solidFill>
      </dgm:spPr>
      <dgm:t>
        <a:bodyPr/>
        <a:lstStyle/>
        <a:p>
          <a:endParaRPr lang="pt-BR" sz="1200" dirty="0"/>
        </a:p>
      </dgm:t>
    </dgm:pt>
    <dgm:pt modelId="{AAC3FB24-8527-4AEF-AA78-4AF033151FE0}" type="parTrans" cxnId="{A47AF4C2-89F4-43FB-87D5-5F1A9B54F648}">
      <dgm:prSet/>
      <dgm:spPr>
        <a:solidFill>
          <a:schemeClr val="accent1"/>
        </a:solidFill>
      </dgm:spPr>
      <dgm:t>
        <a:bodyPr/>
        <a:lstStyle/>
        <a:p>
          <a:endParaRPr lang="pt-BR"/>
        </a:p>
      </dgm:t>
    </dgm:pt>
    <dgm:pt modelId="{11F653CE-1962-4A8A-AAB4-309DDCFB1A83}" type="sibTrans" cxnId="{A47AF4C2-89F4-43FB-87D5-5F1A9B54F648}">
      <dgm:prSet/>
      <dgm:spPr/>
      <dgm:t>
        <a:bodyPr/>
        <a:lstStyle/>
        <a:p>
          <a:endParaRPr lang="pt-BR"/>
        </a:p>
      </dgm:t>
    </dgm:pt>
    <dgm:pt modelId="{9DE61479-62B7-406A-8354-82C2AAF00FA8}">
      <dgm:prSet phldrT="[Texto]" custT="1"/>
      <dgm:spPr>
        <a:solidFill>
          <a:srgbClr val="FFCC66"/>
        </a:solidFill>
      </dgm:spPr>
      <dgm:t>
        <a:bodyPr/>
        <a:lstStyle/>
        <a:p>
          <a:endParaRPr lang="pt-BR" sz="1200" dirty="0"/>
        </a:p>
      </dgm:t>
    </dgm:pt>
    <dgm:pt modelId="{A0E44129-28E4-4BBD-AAD4-EE84C03E676E}" type="parTrans" cxnId="{CD968EA2-B863-4B5F-9AE7-91137CF47080}">
      <dgm:prSet/>
      <dgm:spPr>
        <a:solidFill>
          <a:schemeClr val="accent1"/>
        </a:solidFill>
      </dgm:spPr>
      <dgm:t>
        <a:bodyPr/>
        <a:lstStyle/>
        <a:p>
          <a:endParaRPr lang="pt-BR"/>
        </a:p>
      </dgm:t>
    </dgm:pt>
    <dgm:pt modelId="{4D16E5DE-335C-444C-AEE7-524F3D898658}" type="sibTrans" cxnId="{CD968EA2-B863-4B5F-9AE7-91137CF47080}">
      <dgm:prSet/>
      <dgm:spPr/>
      <dgm:t>
        <a:bodyPr/>
        <a:lstStyle/>
        <a:p>
          <a:endParaRPr lang="pt-BR"/>
        </a:p>
      </dgm:t>
    </dgm:pt>
    <dgm:pt modelId="{14E77F8C-EC7C-4B91-ABCB-255F55662875}">
      <dgm:prSet phldrT="[Texto]" custT="1"/>
      <dgm:spPr>
        <a:solidFill>
          <a:srgbClr val="FFCC66"/>
        </a:solidFill>
      </dgm:spPr>
      <dgm:t>
        <a:bodyPr/>
        <a:lstStyle/>
        <a:p>
          <a:endParaRPr lang="pt-BR" sz="1200" dirty="0"/>
        </a:p>
      </dgm:t>
    </dgm:pt>
    <dgm:pt modelId="{2189FA0F-6F62-49EA-BB5E-36E7F0CF112D}" type="parTrans" cxnId="{F3800E21-7F32-4B00-A1E2-80E415E7BB6E}">
      <dgm:prSet/>
      <dgm:spPr>
        <a:solidFill>
          <a:schemeClr val="accent1"/>
        </a:solidFill>
      </dgm:spPr>
      <dgm:t>
        <a:bodyPr/>
        <a:lstStyle/>
        <a:p>
          <a:endParaRPr lang="pt-BR"/>
        </a:p>
      </dgm:t>
    </dgm:pt>
    <dgm:pt modelId="{06D6EF14-682B-4C9A-8F1D-69FD99E5AF6D}" type="sibTrans" cxnId="{F3800E21-7F32-4B00-A1E2-80E415E7BB6E}">
      <dgm:prSet/>
      <dgm:spPr/>
      <dgm:t>
        <a:bodyPr/>
        <a:lstStyle/>
        <a:p>
          <a:endParaRPr lang="pt-BR"/>
        </a:p>
      </dgm:t>
    </dgm:pt>
    <dgm:pt modelId="{E442EE40-DE9B-4547-9272-566938138AC7}" type="pres">
      <dgm:prSet presAssocID="{6BF7A0EA-1875-4A65-89A1-70491F13604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94BF5F1-3421-4F2E-81D5-B63A215CBC38}" type="pres">
      <dgm:prSet presAssocID="{BE9CED94-0575-4729-BB3C-8214DE0F7960}" presName="centerShape" presStyleLbl="node0" presStyleIdx="0" presStyleCnt="1"/>
      <dgm:spPr/>
      <dgm:t>
        <a:bodyPr/>
        <a:lstStyle/>
        <a:p>
          <a:endParaRPr lang="pt-BR"/>
        </a:p>
      </dgm:t>
    </dgm:pt>
    <dgm:pt modelId="{0F71570D-3F20-4E38-AAE9-66DEEF9F189F}" type="pres">
      <dgm:prSet presAssocID="{96929E85-4E35-4F7A-97D5-9555AF97747B}" presName="parTrans" presStyleLbl="sibTrans2D1" presStyleIdx="0" presStyleCnt="5"/>
      <dgm:spPr/>
      <dgm:t>
        <a:bodyPr/>
        <a:lstStyle/>
        <a:p>
          <a:endParaRPr lang="pt-BR"/>
        </a:p>
      </dgm:t>
    </dgm:pt>
    <dgm:pt modelId="{CA428B13-71E7-4F0F-ADF4-C67F7E91EE32}" type="pres">
      <dgm:prSet presAssocID="{96929E85-4E35-4F7A-97D5-9555AF97747B}" presName="connectorText" presStyleLbl="sibTrans2D1" presStyleIdx="0" presStyleCnt="5"/>
      <dgm:spPr/>
      <dgm:t>
        <a:bodyPr/>
        <a:lstStyle/>
        <a:p>
          <a:endParaRPr lang="pt-BR"/>
        </a:p>
      </dgm:t>
    </dgm:pt>
    <dgm:pt modelId="{266247A1-46AD-459F-A30F-9B671236291D}" type="pres">
      <dgm:prSet presAssocID="{C760A5F5-8D53-4804-9B00-ED697780B74F}" presName="node" presStyleLbl="node1" presStyleIdx="0" presStyleCnt="5" custRadScaleRad="100226" custRadScaleInc="-259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4D749BA-2138-4A3A-A9FB-78CC6F2809E8}" type="pres">
      <dgm:prSet presAssocID="{934BA433-1848-41F8-8696-1C82E530CA87}" presName="parTrans" presStyleLbl="sibTrans2D1" presStyleIdx="1" presStyleCnt="5"/>
      <dgm:spPr/>
      <dgm:t>
        <a:bodyPr/>
        <a:lstStyle/>
        <a:p>
          <a:endParaRPr lang="pt-BR"/>
        </a:p>
      </dgm:t>
    </dgm:pt>
    <dgm:pt modelId="{37E9C4CF-CE3B-4628-BFAC-59B2173E3CC6}" type="pres">
      <dgm:prSet presAssocID="{934BA433-1848-41F8-8696-1C82E530CA87}" presName="connectorText" presStyleLbl="sibTrans2D1" presStyleIdx="1" presStyleCnt="5"/>
      <dgm:spPr/>
      <dgm:t>
        <a:bodyPr/>
        <a:lstStyle/>
        <a:p>
          <a:endParaRPr lang="pt-BR"/>
        </a:p>
      </dgm:t>
    </dgm:pt>
    <dgm:pt modelId="{06476A31-B4EB-4C52-B865-B64B33EBCECB}" type="pres">
      <dgm:prSet presAssocID="{6D25B376-0BB8-46FE-A3B8-B6DDA0CF6937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B477FFD-D11D-476D-9FB1-D1DACF682048}" type="pres">
      <dgm:prSet presAssocID="{AAC3FB24-8527-4AEF-AA78-4AF033151FE0}" presName="parTrans" presStyleLbl="sibTrans2D1" presStyleIdx="2" presStyleCnt="5"/>
      <dgm:spPr/>
      <dgm:t>
        <a:bodyPr/>
        <a:lstStyle/>
        <a:p>
          <a:endParaRPr lang="pt-BR"/>
        </a:p>
      </dgm:t>
    </dgm:pt>
    <dgm:pt modelId="{9B144908-D7F6-4FD9-B2FB-301980A3105F}" type="pres">
      <dgm:prSet presAssocID="{AAC3FB24-8527-4AEF-AA78-4AF033151FE0}" presName="connectorText" presStyleLbl="sibTrans2D1" presStyleIdx="2" presStyleCnt="5"/>
      <dgm:spPr/>
      <dgm:t>
        <a:bodyPr/>
        <a:lstStyle/>
        <a:p>
          <a:endParaRPr lang="pt-BR"/>
        </a:p>
      </dgm:t>
    </dgm:pt>
    <dgm:pt modelId="{81F40276-13EB-4D56-AA18-7FE2E150D565}" type="pres">
      <dgm:prSet presAssocID="{96157984-D939-4647-A3D3-9BBFB4D76932}" presName="node" presStyleLbl="node1" presStyleIdx="2" presStyleCnt="5" custScaleX="10274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11B0DB2-E17C-439E-811A-5B401C93CBCB}" type="pres">
      <dgm:prSet presAssocID="{A0E44129-28E4-4BBD-AAD4-EE84C03E676E}" presName="parTrans" presStyleLbl="sibTrans2D1" presStyleIdx="3" presStyleCnt="5"/>
      <dgm:spPr/>
      <dgm:t>
        <a:bodyPr/>
        <a:lstStyle/>
        <a:p>
          <a:endParaRPr lang="pt-BR"/>
        </a:p>
      </dgm:t>
    </dgm:pt>
    <dgm:pt modelId="{F1AC76B0-7A34-4564-B019-F4BAB5D66302}" type="pres">
      <dgm:prSet presAssocID="{A0E44129-28E4-4BBD-AAD4-EE84C03E676E}" presName="connectorText" presStyleLbl="sibTrans2D1" presStyleIdx="3" presStyleCnt="5"/>
      <dgm:spPr/>
      <dgm:t>
        <a:bodyPr/>
        <a:lstStyle/>
        <a:p>
          <a:endParaRPr lang="pt-BR"/>
        </a:p>
      </dgm:t>
    </dgm:pt>
    <dgm:pt modelId="{D6410032-EF07-4A34-9CF7-AA6CE76CD10B}" type="pres">
      <dgm:prSet presAssocID="{9DE61479-62B7-406A-8354-82C2AAF00FA8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B1CA16E-0368-49FE-9F40-51262AF2C988}" type="pres">
      <dgm:prSet presAssocID="{2189FA0F-6F62-49EA-BB5E-36E7F0CF112D}" presName="parTrans" presStyleLbl="sibTrans2D1" presStyleIdx="4" presStyleCnt="5"/>
      <dgm:spPr/>
      <dgm:t>
        <a:bodyPr/>
        <a:lstStyle/>
        <a:p>
          <a:endParaRPr lang="pt-BR"/>
        </a:p>
      </dgm:t>
    </dgm:pt>
    <dgm:pt modelId="{47119CCE-BB69-48CA-835E-EF5C07D2E908}" type="pres">
      <dgm:prSet presAssocID="{2189FA0F-6F62-49EA-BB5E-36E7F0CF112D}" presName="connectorText" presStyleLbl="sibTrans2D1" presStyleIdx="4" presStyleCnt="5"/>
      <dgm:spPr/>
      <dgm:t>
        <a:bodyPr/>
        <a:lstStyle/>
        <a:p>
          <a:endParaRPr lang="pt-BR"/>
        </a:p>
      </dgm:t>
    </dgm:pt>
    <dgm:pt modelId="{5C9980EC-0EE6-4FF3-A456-BD7B8861329C}" type="pres">
      <dgm:prSet presAssocID="{14E77F8C-EC7C-4B91-ABCB-255F55662875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85BEC47E-F3F1-4ABA-8D5C-9B55858FD1E5}" type="presOf" srcId="{A0E44129-28E4-4BBD-AAD4-EE84C03E676E}" destId="{611B0DB2-E17C-439E-811A-5B401C93CBCB}" srcOrd="0" destOrd="0" presId="urn:microsoft.com/office/officeart/2005/8/layout/radial5"/>
    <dgm:cxn modelId="{7A7456EF-8E2A-41D8-8E19-A3E48B3C866B}" type="presOf" srcId="{AAC3FB24-8527-4AEF-AA78-4AF033151FE0}" destId="{0B477FFD-D11D-476D-9FB1-D1DACF682048}" srcOrd="0" destOrd="0" presId="urn:microsoft.com/office/officeart/2005/8/layout/radial5"/>
    <dgm:cxn modelId="{7EC5095E-733E-4DEE-A4B8-B361ABF1E8FA}" type="presOf" srcId="{2189FA0F-6F62-49EA-BB5E-36E7F0CF112D}" destId="{47119CCE-BB69-48CA-835E-EF5C07D2E908}" srcOrd="1" destOrd="0" presId="urn:microsoft.com/office/officeart/2005/8/layout/radial5"/>
    <dgm:cxn modelId="{A508E516-7A0E-4F0A-83FA-2D3C85EAF894}" type="presOf" srcId="{C760A5F5-8D53-4804-9B00-ED697780B74F}" destId="{266247A1-46AD-459F-A30F-9B671236291D}" srcOrd="0" destOrd="0" presId="urn:microsoft.com/office/officeart/2005/8/layout/radial5"/>
    <dgm:cxn modelId="{E648CBAE-8331-4C7C-9E9A-3DF0B77382F5}" type="presOf" srcId="{96929E85-4E35-4F7A-97D5-9555AF97747B}" destId="{0F71570D-3F20-4E38-AAE9-66DEEF9F189F}" srcOrd="0" destOrd="0" presId="urn:microsoft.com/office/officeart/2005/8/layout/radial5"/>
    <dgm:cxn modelId="{679B12AA-4C70-46B8-8FC1-60318539F5CD}" type="presOf" srcId="{934BA433-1848-41F8-8696-1C82E530CA87}" destId="{37E9C4CF-CE3B-4628-BFAC-59B2173E3CC6}" srcOrd="1" destOrd="0" presId="urn:microsoft.com/office/officeart/2005/8/layout/radial5"/>
    <dgm:cxn modelId="{A1A17C61-956D-4CF6-B2D2-60263F7BAA03}" srcId="{6BF7A0EA-1875-4A65-89A1-70491F136048}" destId="{BE9CED94-0575-4729-BB3C-8214DE0F7960}" srcOrd="0" destOrd="0" parTransId="{103612AB-940C-4466-838E-2CF57C32FDB6}" sibTransId="{AAFF2B9B-2992-41A4-966D-77FB57EED8F8}"/>
    <dgm:cxn modelId="{2C798D88-4533-4A4D-AE95-94E2DBE1E45B}" type="presOf" srcId="{96157984-D939-4647-A3D3-9BBFB4D76932}" destId="{81F40276-13EB-4D56-AA18-7FE2E150D565}" srcOrd="0" destOrd="0" presId="urn:microsoft.com/office/officeart/2005/8/layout/radial5"/>
    <dgm:cxn modelId="{E9C55341-7419-476F-96EB-2C056D9708FF}" type="presOf" srcId="{6BF7A0EA-1875-4A65-89A1-70491F136048}" destId="{E442EE40-DE9B-4547-9272-566938138AC7}" srcOrd="0" destOrd="0" presId="urn:microsoft.com/office/officeart/2005/8/layout/radial5"/>
    <dgm:cxn modelId="{080DD6CD-7FE5-4D09-8D6F-4ECBC3DD4048}" type="presOf" srcId="{9DE61479-62B7-406A-8354-82C2AAF00FA8}" destId="{D6410032-EF07-4A34-9CF7-AA6CE76CD10B}" srcOrd="0" destOrd="0" presId="urn:microsoft.com/office/officeart/2005/8/layout/radial5"/>
    <dgm:cxn modelId="{E8453850-8351-46D5-93DC-D2C39E3E207F}" type="presOf" srcId="{BE9CED94-0575-4729-BB3C-8214DE0F7960}" destId="{E94BF5F1-3421-4F2E-81D5-B63A215CBC38}" srcOrd="0" destOrd="0" presId="urn:microsoft.com/office/officeart/2005/8/layout/radial5"/>
    <dgm:cxn modelId="{F3800E21-7F32-4B00-A1E2-80E415E7BB6E}" srcId="{BE9CED94-0575-4729-BB3C-8214DE0F7960}" destId="{14E77F8C-EC7C-4B91-ABCB-255F55662875}" srcOrd="4" destOrd="0" parTransId="{2189FA0F-6F62-49EA-BB5E-36E7F0CF112D}" sibTransId="{06D6EF14-682B-4C9A-8F1D-69FD99E5AF6D}"/>
    <dgm:cxn modelId="{CD968EA2-B863-4B5F-9AE7-91137CF47080}" srcId="{BE9CED94-0575-4729-BB3C-8214DE0F7960}" destId="{9DE61479-62B7-406A-8354-82C2AAF00FA8}" srcOrd="3" destOrd="0" parTransId="{A0E44129-28E4-4BBD-AAD4-EE84C03E676E}" sibTransId="{4D16E5DE-335C-444C-AEE7-524F3D898658}"/>
    <dgm:cxn modelId="{97EEE061-86FE-4698-BE68-4F138F5DE4DB}" type="presOf" srcId="{14E77F8C-EC7C-4B91-ABCB-255F55662875}" destId="{5C9980EC-0EE6-4FF3-A456-BD7B8861329C}" srcOrd="0" destOrd="0" presId="urn:microsoft.com/office/officeart/2005/8/layout/radial5"/>
    <dgm:cxn modelId="{53CA8FCD-D47D-4F93-AA1F-3567D803A32A}" type="presOf" srcId="{96929E85-4E35-4F7A-97D5-9555AF97747B}" destId="{CA428B13-71E7-4F0F-ADF4-C67F7E91EE32}" srcOrd="1" destOrd="0" presId="urn:microsoft.com/office/officeart/2005/8/layout/radial5"/>
    <dgm:cxn modelId="{41EF94C0-4ED9-4962-8BBC-99D5E7AD58F7}" type="presOf" srcId="{6D25B376-0BB8-46FE-A3B8-B6DDA0CF6937}" destId="{06476A31-B4EB-4C52-B865-B64B33EBCECB}" srcOrd="0" destOrd="0" presId="urn:microsoft.com/office/officeart/2005/8/layout/radial5"/>
    <dgm:cxn modelId="{582AB9E8-15F6-4C67-8747-989B0B07A615}" type="presOf" srcId="{934BA433-1848-41F8-8696-1C82E530CA87}" destId="{D4D749BA-2138-4A3A-A9FB-78CC6F2809E8}" srcOrd="0" destOrd="0" presId="urn:microsoft.com/office/officeart/2005/8/layout/radial5"/>
    <dgm:cxn modelId="{D9F06E4E-B7D5-467F-B78A-322FFB079AD7}" type="presOf" srcId="{AAC3FB24-8527-4AEF-AA78-4AF033151FE0}" destId="{9B144908-D7F6-4FD9-B2FB-301980A3105F}" srcOrd="1" destOrd="0" presId="urn:microsoft.com/office/officeart/2005/8/layout/radial5"/>
    <dgm:cxn modelId="{313D8E8E-BBA9-46D1-B836-F01E9E6E8A47}" srcId="{BE9CED94-0575-4729-BB3C-8214DE0F7960}" destId="{C760A5F5-8D53-4804-9B00-ED697780B74F}" srcOrd="0" destOrd="0" parTransId="{96929E85-4E35-4F7A-97D5-9555AF97747B}" sibTransId="{0216FC0E-0133-481B-A472-756BB0332F02}"/>
    <dgm:cxn modelId="{ECF1673B-6E68-4869-A04D-D7FF80D952F8}" srcId="{BE9CED94-0575-4729-BB3C-8214DE0F7960}" destId="{6D25B376-0BB8-46FE-A3B8-B6DDA0CF6937}" srcOrd="1" destOrd="0" parTransId="{934BA433-1848-41F8-8696-1C82E530CA87}" sibTransId="{413336E8-A6DD-411B-8580-4201CF4FC2ED}"/>
    <dgm:cxn modelId="{38384229-1905-4918-8B02-C00D43632F57}" type="presOf" srcId="{A0E44129-28E4-4BBD-AAD4-EE84C03E676E}" destId="{F1AC76B0-7A34-4564-B019-F4BAB5D66302}" srcOrd="1" destOrd="0" presId="urn:microsoft.com/office/officeart/2005/8/layout/radial5"/>
    <dgm:cxn modelId="{A47AF4C2-89F4-43FB-87D5-5F1A9B54F648}" srcId="{BE9CED94-0575-4729-BB3C-8214DE0F7960}" destId="{96157984-D939-4647-A3D3-9BBFB4D76932}" srcOrd="2" destOrd="0" parTransId="{AAC3FB24-8527-4AEF-AA78-4AF033151FE0}" sibTransId="{11F653CE-1962-4A8A-AAB4-309DDCFB1A83}"/>
    <dgm:cxn modelId="{1F7BD941-AF87-4DC0-AAFD-49B42F676248}" type="presOf" srcId="{2189FA0F-6F62-49EA-BB5E-36E7F0CF112D}" destId="{FB1CA16E-0368-49FE-9F40-51262AF2C988}" srcOrd="0" destOrd="0" presId="urn:microsoft.com/office/officeart/2005/8/layout/radial5"/>
    <dgm:cxn modelId="{56ACFA76-49AB-4C27-89D1-23415EB6F66C}" type="presParOf" srcId="{E442EE40-DE9B-4547-9272-566938138AC7}" destId="{E94BF5F1-3421-4F2E-81D5-B63A215CBC38}" srcOrd="0" destOrd="0" presId="urn:microsoft.com/office/officeart/2005/8/layout/radial5"/>
    <dgm:cxn modelId="{86AB0950-723C-4D09-8683-55F342AAB2B3}" type="presParOf" srcId="{E442EE40-DE9B-4547-9272-566938138AC7}" destId="{0F71570D-3F20-4E38-AAE9-66DEEF9F189F}" srcOrd="1" destOrd="0" presId="urn:microsoft.com/office/officeart/2005/8/layout/radial5"/>
    <dgm:cxn modelId="{7E1514C4-6C98-45AC-BE95-5B32BC557094}" type="presParOf" srcId="{0F71570D-3F20-4E38-AAE9-66DEEF9F189F}" destId="{CA428B13-71E7-4F0F-ADF4-C67F7E91EE32}" srcOrd="0" destOrd="0" presId="urn:microsoft.com/office/officeart/2005/8/layout/radial5"/>
    <dgm:cxn modelId="{01227CB5-7161-44B4-A302-33E0EECE5422}" type="presParOf" srcId="{E442EE40-DE9B-4547-9272-566938138AC7}" destId="{266247A1-46AD-459F-A30F-9B671236291D}" srcOrd="2" destOrd="0" presId="urn:microsoft.com/office/officeart/2005/8/layout/radial5"/>
    <dgm:cxn modelId="{0FFA6ACA-792E-44D6-B72D-37DCA034C9F5}" type="presParOf" srcId="{E442EE40-DE9B-4547-9272-566938138AC7}" destId="{D4D749BA-2138-4A3A-A9FB-78CC6F2809E8}" srcOrd="3" destOrd="0" presId="urn:microsoft.com/office/officeart/2005/8/layout/radial5"/>
    <dgm:cxn modelId="{11566079-52A0-48A1-8341-7B2098506819}" type="presParOf" srcId="{D4D749BA-2138-4A3A-A9FB-78CC6F2809E8}" destId="{37E9C4CF-CE3B-4628-BFAC-59B2173E3CC6}" srcOrd="0" destOrd="0" presId="urn:microsoft.com/office/officeart/2005/8/layout/radial5"/>
    <dgm:cxn modelId="{696CBB68-AE76-442F-9ABF-EE5799BF9F28}" type="presParOf" srcId="{E442EE40-DE9B-4547-9272-566938138AC7}" destId="{06476A31-B4EB-4C52-B865-B64B33EBCECB}" srcOrd="4" destOrd="0" presId="urn:microsoft.com/office/officeart/2005/8/layout/radial5"/>
    <dgm:cxn modelId="{27079546-D4A1-453A-8915-939892BF8715}" type="presParOf" srcId="{E442EE40-DE9B-4547-9272-566938138AC7}" destId="{0B477FFD-D11D-476D-9FB1-D1DACF682048}" srcOrd="5" destOrd="0" presId="urn:microsoft.com/office/officeart/2005/8/layout/radial5"/>
    <dgm:cxn modelId="{6F392C9B-93D5-46F9-B313-D00D3B648674}" type="presParOf" srcId="{0B477FFD-D11D-476D-9FB1-D1DACF682048}" destId="{9B144908-D7F6-4FD9-B2FB-301980A3105F}" srcOrd="0" destOrd="0" presId="urn:microsoft.com/office/officeart/2005/8/layout/radial5"/>
    <dgm:cxn modelId="{47E11268-3E26-4BA5-BF82-C4B53FD4D3F9}" type="presParOf" srcId="{E442EE40-DE9B-4547-9272-566938138AC7}" destId="{81F40276-13EB-4D56-AA18-7FE2E150D565}" srcOrd="6" destOrd="0" presId="urn:microsoft.com/office/officeart/2005/8/layout/radial5"/>
    <dgm:cxn modelId="{3C501663-9856-4C7E-B29E-F02EF5EA0D0F}" type="presParOf" srcId="{E442EE40-DE9B-4547-9272-566938138AC7}" destId="{611B0DB2-E17C-439E-811A-5B401C93CBCB}" srcOrd="7" destOrd="0" presId="urn:microsoft.com/office/officeart/2005/8/layout/radial5"/>
    <dgm:cxn modelId="{DFAC1800-A457-410B-8CD8-7AF517D6BC31}" type="presParOf" srcId="{611B0DB2-E17C-439E-811A-5B401C93CBCB}" destId="{F1AC76B0-7A34-4564-B019-F4BAB5D66302}" srcOrd="0" destOrd="0" presId="urn:microsoft.com/office/officeart/2005/8/layout/radial5"/>
    <dgm:cxn modelId="{9E50B2A7-CE05-4736-811A-7B11C4C7D00C}" type="presParOf" srcId="{E442EE40-DE9B-4547-9272-566938138AC7}" destId="{D6410032-EF07-4A34-9CF7-AA6CE76CD10B}" srcOrd="8" destOrd="0" presId="urn:microsoft.com/office/officeart/2005/8/layout/radial5"/>
    <dgm:cxn modelId="{756D6951-372C-43E4-9E42-84E730ADA3E4}" type="presParOf" srcId="{E442EE40-DE9B-4547-9272-566938138AC7}" destId="{FB1CA16E-0368-49FE-9F40-51262AF2C988}" srcOrd="9" destOrd="0" presId="urn:microsoft.com/office/officeart/2005/8/layout/radial5"/>
    <dgm:cxn modelId="{11571999-E465-4575-924C-B32C7AD2B80A}" type="presParOf" srcId="{FB1CA16E-0368-49FE-9F40-51262AF2C988}" destId="{47119CCE-BB69-48CA-835E-EF5C07D2E908}" srcOrd="0" destOrd="0" presId="urn:microsoft.com/office/officeart/2005/8/layout/radial5"/>
    <dgm:cxn modelId="{1A3DB02A-D93B-44B4-88E1-91C9333ECF52}" type="presParOf" srcId="{E442EE40-DE9B-4547-9272-566938138AC7}" destId="{5C9980EC-0EE6-4FF3-A456-BD7B8861329C}" srcOrd="10" destOrd="0" presId="urn:microsoft.com/office/officeart/2005/8/layout/radial5"/>
  </dgm:cxnLst>
  <dgm:bg>
    <a:noFill/>
  </dgm:bg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F7A0EA-1875-4A65-89A1-70491F136048}" type="doc">
      <dgm:prSet loTypeId="urn:microsoft.com/office/officeart/2005/8/layout/radial5" loCatId="relationship" qsTypeId="urn:microsoft.com/office/officeart/2005/8/quickstyle/simple5" qsCatId="simple" csTypeId="urn:microsoft.com/office/officeart/2005/8/colors/accent1_1" csCatId="accent1" phldr="1"/>
      <dgm:spPr/>
      <dgm:t>
        <a:bodyPr/>
        <a:lstStyle/>
        <a:p>
          <a:endParaRPr lang="pt-BR"/>
        </a:p>
      </dgm:t>
    </dgm:pt>
    <dgm:pt modelId="{BE9CED94-0575-4729-BB3C-8214DE0F7960}">
      <dgm:prSet phldrT="[Texto]"/>
      <dgm:spPr>
        <a:solidFill>
          <a:srgbClr val="FFCC66"/>
        </a:solidFill>
      </dgm:spPr>
      <dgm:t>
        <a:bodyPr/>
        <a:lstStyle/>
        <a:p>
          <a:endParaRPr lang="pt-BR" b="1" dirty="0" smtClean="0"/>
        </a:p>
        <a:p>
          <a:endParaRPr lang="pt-BR" b="1" dirty="0"/>
        </a:p>
      </dgm:t>
    </dgm:pt>
    <dgm:pt modelId="{103612AB-940C-4466-838E-2CF57C32FDB6}" type="parTrans" cxnId="{A1A17C61-956D-4CF6-B2D2-60263F7BAA03}">
      <dgm:prSet/>
      <dgm:spPr/>
      <dgm:t>
        <a:bodyPr/>
        <a:lstStyle/>
        <a:p>
          <a:endParaRPr lang="pt-BR"/>
        </a:p>
      </dgm:t>
    </dgm:pt>
    <dgm:pt modelId="{AAFF2B9B-2992-41A4-966D-77FB57EED8F8}" type="sibTrans" cxnId="{A1A17C61-956D-4CF6-B2D2-60263F7BAA03}">
      <dgm:prSet/>
      <dgm:spPr/>
      <dgm:t>
        <a:bodyPr/>
        <a:lstStyle/>
        <a:p>
          <a:endParaRPr lang="pt-BR"/>
        </a:p>
      </dgm:t>
    </dgm:pt>
    <dgm:pt modelId="{C760A5F5-8D53-4804-9B00-ED697780B74F}">
      <dgm:prSet phldrT="[Texto]" custT="1"/>
      <dgm:spPr>
        <a:solidFill>
          <a:srgbClr val="FFCC66"/>
        </a:solidFill>
      </dgm:spPr>
      <dgm:t>
        <a:bodyPr/>
        <a:lstStyle/>
        <a:p>
          <a:endParaRPr lang="pt-BR" sz="1200" dirty="0"/>
        </a:p>
      </dgm:t>
    </dgm:pt>
    <dgm:pt modelId="{96929E85-4E35-4F7A-97D5-9555AF97747B}" type="parTrans" cxnId="{313D8E8E-BBA9-46D1-B836-F01E9E6E8A47}">
      <dgm:prSet/>
      <dgm:spPr>
        <a:solidFill>
          <a:schemeClr val="tx2">
            <a:lumMod val="60000"/>
            <a:lumOff val="40000"/>
          </a:schemeClr>
        </a:solidFill>
        <a:ln>
          <a:solidFill>
            <a:schemeClr val="tx2">
              <a:lumMod val="60000"/>
              <a:lumOff val="40000"/>
            </a:schemeClr>
          </a:solidFill>
        </a:ln>
      </dgm:spPr>
      <dgm:t>
        <a:bodyPr/>
        <a:lstStyle/>
        <a:p>
          <a:endParaRPr lang="pt-BR"/>
        </a:p>
      </dgm:t>
    </dgm:pt>
    <dgm:pt modelId="{0216FC0E-0133-481B-A472-756BB0332F02}" type="sibTrans" cxnId="{313D8E8E-BBA9-46D1-B836-F01E9E6E8A47}">
      <dgm:prSet/>
      <dgm:spPr/>
      <dgm:t>
        <a:bodyPr/>
        <a:lstStyle/>
        <a:p>
          <a:endParaRPr lang="pt-BR"/>
        </a:p>
      </dgm:t>
    </dgm:pt>
    <dgm:pt modelId="{6D25B376-0BB8-46FE-A3B8-B6DDA0CF6937}">
      <dgm:prSet phldrT="[Texto]" custT="1"/>
      <dgm:spPr>
        <a:solidFill>
          <a:srgbClr val="FFCC66"/>
        </a:solidFill>
      </dgm:spPr>
      <dgm:t>
        <a:bodyPr/>
        <a:lstStyle/>
        <a:p>
          <a:endParaRPr lang="pt-BR" sz="1200" dirty="0"/>
        </a:p>
      </dgm:t>
    </dgm:pt>
    <dgm:pt modelId="{934BA433-1848-41F8-8696-1C82E530CA87}" type="parTrans" cxnId="{ECF1673B-6E68-4869-A04D-D7FF80D952F8}">
      <dgm:prSet/>
      <dgm:spPr>
        <a:solidFill>
          <a:schemeClr val="accent1"/>
        </a:solidFill>
      </dgm:spPr>
      <dgm:t>
        <a:bodyPr/>
        <a:lstStyle/>
        <a:p>
          <a:endParaRPr lang="pt-BR" dirty="0"/>
        </a:p>
      </dgm:t>
    </dgm:pt>
    <dgm:pt modelId="{413336E8-A6DD-411B-8580-4201CF4FC2ED}" type="sibTrans" cxnId="{ECF1673B-6E68-4869-A04D-D7FF80D952F8}">
      <dgm:prSet/>
      <dgm:spPr/>
      <dgm:t>
        <a:bodyPr/>
        <a:lstStyle/>
        <a:p>
          <a:endParaRPr lang="pt-BR"/>
        </a:p>
      </dgm:t>
    </dgm:pt>
    <dgm:pt modelId="{96157984-D939-4647-A3D3-9BBFB4D76932}">
      <dgm:prSet phldrT="[Texto]" custT="1"/>
      <dgm:spPr>
        <a:solidFill>
          <a:srgbClr val="FFCC66"/>
        </a:solidFill>
      </dgm:spPr>
      <dgm:t>
        <a:bodyPr/>
        <a:lstStyle/>
        <a:p>
          <a:endParaRPr lang="pt-BR" sz="1200" dirty="0"/>
        </a:p>
      </dgm:t>
    </dgm:pt>
    <dgm:pt modelId="{AAC3FB24-8527-4AEF-AA78-4AF033151FE0}" type="parTrans" cxnId="{A47AF4C2-89F4-43FB-87D5-5F1A9B54F648}">
      <dgm:prSet/>
      <dgm:spPr>
        <a:solidFill>
          <a:schemeClr val="accent1"/>
        </a:solidFill>
      </dgm:spPr>
      <dgm:t>
        <a:bodyPr/>
        <a:lstStyle/>
        <a:p>
          <a:endParaRPr lang="pt-BR"/>
        </a:p>
      </dgm:t>
    </dgm:pt>
    <dgm:pt modelId="{11F653CE-1962-4A8A-AAB4-309DDCFB1A83}" type="sibTrans" cxnId="{A47AF4C2-89F4-43FB-87D5-5F1A9B54F648}">
      <dgm:prSet/>
      <dgm:spPr/>
      <dgm:t>
        <a:bodyPr/>
        <a:lstStyle/>
        <a:p>
          <a:endParaRPr lang="pt-BR"/>
        </a:p>
      </dgm:t>
    </dgm:pt>
    <dgm:pt modelId="{9DE61479-62B7-406A-8354-82C2AAF00FA8}">
      <dgm:prSet phldrT="[Texto]" custT="1"/>
      <dgm:spPr>
        <a:solidFill>
          <a:srgbClr val="FFCC66"/>
        </a:solidFill>
      </dgm:spPr>
      <dgm:t>
        <a:bodyPr/>
        <a:lstStyle/>
        <a:p>
          <a:endParaRPr lang="pt-BR" sz="1200" dirty="0"/>
        </a:p>
      </dgm:t>
    </dgm:pt>
    <dgm:pt modelId="{A0E44129-28E4-4BBD-AAD4-EE84C03E676E}" type="parTrans" cxnId="{CD968EA2-B863-4B5F-9AE7-91137CF47080}">
      <dgm:prSet/>
      <dgm:spPr>
        <a:solidFill>
          <a:schemeClr val="accent1"/>
        </a:solidFill>
      </dgm:spPr>
      <dgm:t>
        <a:bodyPr/>
        <a:lstStyle/>
        <a:p>
          <a:endParaRPr lang="pt-BR"/>
        </a:p>
      </dgm:t>
    </dgm:pt>
    <dgm:pt modelId="{4D16E5DE-335C-444C-AEE7-524F3D898658}" type="sibTrans" cxnId="{CD968EA2-B863-4B5F-9AE7-91137CF47080}">
      <dgm:prSet/>
      <dgm:spPr/>
      <dgm:t>
        <a:bodyPr/>
        <a:lstStyle/>
        <a:p>
          <a:endParaRPr lang="pt-BR"/>
        </a:p>
      </dgm:t>
    </dgm:pt>
    <dgm:pt modelId="{14E77F8C-EC7C-4B91-ABCB-255F55662875}">
      <dgm:prSet phldrT="[Texto]" custT="1"/>
      <dgm:spPr>
        <a:solidFill>
          <a:srgbClr val="FFCC66"/>
        </a:solidFill>
      </dgm:spPr>
      <dgm:t>
        <a:bodyPr/>
        <a:lstStyle/>
        <a:p>
          <a:endParaRPr lang="pt-BR" sz="1200" dirty="0"/>
        </a:p>
      </dgm:t>
    </dgm:pt>
    <dgm:pt modelId="{2189FA0F-6F62-49EA-BB5E-36E7F0CF112D}" type="parTrans" cxnId="{F3800E21-7F32-4B00-A1E2-80E415E7BB6E}">
      <dgm:prSet/>
      <dgm:spPr>
        <a:solidFill>
          <a:schemeClr val="accent1"/>
        </a:solidFill>
      </dgm:spPr>
      <dgm:t>
        <a:bodyPr/>
        <a:lstStyle/>
        <a:p>
          <a:endParaRPr lang="pt-BR"/>
        </a:p>
      </dgm:t>
    </dgm:pt>
    <dgm:pt modelId="{06D6EF14-682B-4C9A-8F1D-69FD99E5AF6D}" type="sibTrans" cxnId="{F3800E21-7F32-4B00-A1E2-80E415E7BB6E}">
      <dgm:prSet/>
      <dgm:spPr/>
      <dgm:t>
        <a:bodyPr/>
        <a:lstStyle/>
        <a:p>
          <a:endParaRPr lang="pt-BR"/>
        </a:p>
      </dgm:t>
    </dgm:pt>
    <dgm:pt modelId="{E442EE40-DE9B-4547-9272-566938138AC7}" type="pres">
      <dgm:prSet presAssocID="{6BF7A0EA-1875-4A65-89A1-70491F13604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94BF5F1-3421-4F2E-81D5-B63A215CBC38}" type="pres">
      <dgm:prSet presAssocID="{BE9CED94-0575-4729-BB3C-8214DE0F7960}" presName="centerShape" presStyleLbl="node0" presStyleIdx="0" presStyleCnt="1"/>
      <dgm:spPr/>
      <dgm:t>
        <a:bodyPr/>
        <a:lstStyle/>
        <a:p>
          <a:endParaRPr lang="pt-BR"/>
        </a:p>
      </dgm:t>
    </dgm:pt>
    <dgm:pt modelId="{0F71570D-3F20-4E38-AAE9-66DEEF9F189F}" type="pres">
      <dgm:prSet presAssocID="{96929E85-4E35-4F7A-97D5-9555AF97747B}" presName="parTrans" presStyleLbl="sibTrans2D1" presStyleIdx="0" presStyleCnt="5"/>
      <dgm:spPr/>
      <dgm:t>
        <a:bodyPr/>
        <a:lstStyle/>
        <a:p>
          <a:endParaRPr lang="pt-BR"/>
        </a:p>
      </dgm:t>
    </dgm:pt>
    <dgm:pt modelId="{CA428B13-71E7-4F0F-ADF4-C67F7E91EE32}" type="pres">
      <dgm:prSet presAssocID="{96929E85-4E35-4F7A-97D5-9555AF97747B}" presName="connectorText" presStyleLbl="sibTrans2D1" presStyleIdx="0" presStyleCnt="5"/>
      <dgm:spPr/>
      <dgm:t>
        <a:bodyPr/>
        <a:lstStyle/>
        <a:p>
          <a:endParaRPr lang="pt-BR"/>
        </a:p>
      </dgm:t>
    </dgm:pt>
    <dgm:pt modelId="{266247A1-46AD-459F-A30F-9B671236291D}" type="pres">
      <dgm:prSet presAssocID="{C760A5F5-8D53-4804-9B00-ED697780B74F}" presName="node" presStyleLbl="node1" presStyleIdx="0" presStyleCnt="5" custRadScaleRad="100226" custRadScaleInc="-259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4D749BA-2138-4A3A-A9FB-78CC6F2809E8}" type="pres">
      <dgm:prSet presAssocID="{934BA433-1848-41F8-8696-1C82E530CA87}" presName="parTrans" presStyleLbl="sibTrans2D1" presStyleIdx="1" presStyleCnt="5"/>
      <dgm:spPr/>
      <dgm:t>
        <a:bodyPr/>
        <a:lstStyle/>
        <a:p>
          <a:endParaRPr lang="pt-BR"/>
        </a:p>
      </dgm:t>
    </dgm:pt>
    <dgm:pt modelId="{37E9C4CF-CE3B-4628-BFAC-59B2173E3CC6}" type="pres">
      <dgm:prSet presAssocID="{934BA433-1848-41F8-8696-1C82E530CA87}" presName="connectorText" presStyleLbl="sibTrans2D1" presStyleIdx="1" presStyleCnt="5"/>
      <dgm:spPr/>
      <dgm:t>
        <a:bodyPr/>
        <a:lstStyle/>
        <a:p>
          <a:endParaRPr lang="pt-BR"/>
        </a:p>
      </dgm:t>
    </dgm:pt>
    <dgm:pt modelId="{06476A31-B4EB-4C52-B865-B64B33EBCECB}" type="pres">
      <dgm:prSet presAssocID="{6D25B376-0BB8-46FE-A3B8-B6DDA0CF6937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B477FFD-D11D-476D-9FB1-D1DACF682048}" type="pres">
      <dgm:prSet presAssocID="{AAC3FB24-8527-4AEF-AA78-4AF033151FE0}" presName="parTrans" presStyleLbl="sibTrans2D1" presStyleIdx="2" presStyleCnt="5"/>
      <dgm:spPr/>
      <dgm:t>
        <a:bodyPr/>
        <a:lstStyle/>
        <a:p>
          <a:endParaRPr lang="pt-BR"/>
        </a:p>
      </dgm:t>
    </dgm:pt>
    <dgm:pt modelId="{9B144908-D7F6-4FD9-B2FB-301980A3105F}" type="pres">
      <dgm:prSet presAssocID="{AAC3FB24-8527-4AEF-AA78-4AF033151FE0}" presName="connectorText" presStyleLbl="sibTrans2D1" presStyleIdx="2" presStyleCnt="5"/>
      <dgm:spPr/>
      <dgm:t>
        <a:bodyPr/>
        <a:lstStyle/>
        <a:p>
          <a:endParaRPr lang="pt-BR"/>
        </a:p>
      </dgm:t>
    </dgm:pt>
    <dgm:pt modelId="{81F40276-13EB-4D56-AA18-7FE2E150D565}" type="pres">
      <dgm:prSet presAssocID="{96157984-D939-4647-A3D3-9BBFB4D76932}" presName="node" presStyleLbl="node1" presStyleIdx="2" presStyleCnt="5" custScaleX="10274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11B0DB2-E17C-439E-811A-5B401C93CBCB}" type="pres">
      <dgm:prSet presAssocID="{A0E44129-28E4-4BBD-AAD4-EE84C03E676E}" presName="parTrans" presStyleLbl="sibTrans2D1" presStyleIdx="3" presStyleCnt="5"/>
      <dgm:spPr/>
      <dgm:t>
        <a:bodyPr/>
        <a:lstStyle/>
        <a:p>
          <a:endParaRPr lang="pt-BR"/>
        </a:p>
      </dgm:t>
    </dgm:pt>
    <dgm:pt modelId="{F1AC76B0-7A34-4564-B019-F4BAB5D66302}" type="pres">
      <dgm:prSet presAssocID="{A0E44129-28E4-4BBD-AAD4-EE84C03E676E}" presName="connectorText" presStyleLbl="sibTrans2D1" presStyleIdx="3" presStyleCnt="5"/>
      <dgm:spPr/>
      <dgm:t>
        <a:bodyPr/>
        <a:lstStyle/>
        <a:p>
          <a:endParaRPr lang="pt-BR"/>
        </a:p>
      </dgm:t>
    </dgm:pt>
    <dgm:pt modelId="{D6410032-EF07-4A34-9CF7-AA6CE76CD10B}" type="pres">
      <dgm:prSet presAssocID="{9DE61479-62B7-406A-8354-82C2AAF00FA8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B1CA16E-0368-49FE-9F40-51262AF2C988}" type="pres">
      <dgm:prSet presAssocID="{2189FA0F-6F62-49EA-BB5E-36E7F0CF112D}" presName="parTrans" presStyleLbl="sibTrans2D1" presStyleIdx="4" presStyleCnt="5"/>
      <dgm:spPr/>
      <dgm:t>
        <a:bodyPr/>
        <a:lstStyle/>
        <a:p>
          <a:endParaRPr lang="pt-BR"/>
        </a:p>
      </dgm:t>
    </dgm:pt>
    <dgm:pt modelId="{47119CCE-BB69-48CA-835E-EF5C07D2E908}" type="pres">
      <dgm:prSet presAssocID="{2189FA0F-6F62-49EA-BB5E-36E7F0CF112D}" presName="connectorText" presStyleLbl="sibTrans2D1" presStyleIdx="4" presStyleCnt="5"/>
      <dgm:spPr/>
      <dgm:t>
        <a:bodyPr/>
        <a:lstStyle/>
        <a:p>
          <a:endParaRPr lang="pt-BR"/>
        </a:p>
      </dgm:t>
    </dgm:pt>
    <dgm:pt modelId="{5C9980EC-0EE6-4FF3-A456-BD7B8861329C}" type="pres">
      <dgm:prSet presAssocID="{14E77F8C-EC7C-4B91-ABCB-255F55662875}" presName="node" presStyleLbl="node1" presStyleIdx="4" presStyleCnt="5" custRadScaleRad="100601" custRadScaleInc="121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AB4FB8AD-2B0C-4A48-BC4F-7C37CDFA60B4}" type="presOf" srcId="{6BF7A0EA-1875-4A65-89A1-70491F136048}" destId="{E442EE40-DE9B-4547-9272-566938138AC7}" srcOrd="0" destOrd="0" presId="urn:microsoft.com/office/officeart/2005/8/layout/radial5"/>
    <dgm:cxn modelId="{A47AF4C2-89F4-43FB-87D5-5F1A9B54F648}" srcId="{BE9CED94-0575-4729-BB3C-8214DE0F7960}" destId="{96157984-D939-4647-A3D3-9BBFB4D76932}" srcOrd="2" destOrd="0" parTransId="{AAC3FB24-8527-4AEF-AA78-4AF033151FE0}" sibTransId="{11F653CE-1962-4A8A-AAB4-309DDCFB1A83}"/>
    <dgm:cxn modelId="{ECF1673B-6E68-4869-A04D-D7FF80D952F8}" srcId="{BE9CED94-0575-4729-BB3C-8214DE0F7960}" destId="{6D25B376-0BB8-46FE-A3B8-B6DDA0CF6937}" srcOrd="1" destOrd="0" parTransId="{934BA433-1848-41F8-8696-1C82E530CA87}" sibTransId="{413336E8-A6DD-411B-8580-4201CF4FC2ED}"/>
    <dgm:cxn modelId="{F1E308B6-719F-4074-99FF-1953FA12E2F3}" type="presOf" srcId="{6D25B376-0BB8-46FE-A3B8-B6DDA0CF6937}" destId="{06476A31-B4EB-4C52-B865-B64B33EBCECB}" srcOrd="0" destOrd="0" presId="urn:microsoft.com/office/officeart/2005/8/layout/radial5"/>
    <dgm:cxn modelId="{975D7D68-7733-49BD-8C4C-03AD3343FBD1}" type="presOf" srcId="{9DE61479-62B7-406A-8354-82C2AAF00FA8}" destId="{D6410032-EF07-4A34-9CF7-AA6CE76CD10B}" srcOrd="0" destOrd="0" presId="urn:microsoft.com/office/officeart/2005/8/layout/radial5"/>
    <dgm:cxn modelId="{3E0D9A73-701A-46ED-B0F9-17C2A3985A0F}" type="presOf" srcId="{A0E44129-28E4-4BBD-AAD4-EE84C03E676E}" destId="{F1AC76B0-7A34-4564-B019-F4BAB5D66302}" srcOrd="1" destOrd="0" presId="urn:microsoft.com/office/officeart/2005/8/layout/radial5"/>
    <dgm:cxn modelId="{313D8E8E-BBA9-46D1-B836-F01E9E6E8A47}" srcId="{BE9CED94-0575-4729-BB3C-8214DE0F7960}" destId="{C760A5F5-8D53-4804-9B00-ED697780B74F}" srcOrd="0" destOrd="0" parTransId="{96929E85-4E35-4F7A-97D5-9555AF97747B}" sibTransId="{0216FC0E-0133-481B-A472-756BB0332F02}"/>
    <dgm:cxn modelId="{5AD68F4D-946A-4297-B379-84259D0C0DCB}" type="presOf" srcId="{A0E44129-28E4-4BBD-AAD4-EE84C03E676E}" destId="{611B0DB2-E17C-439E-811A-5B401C93CBCB}" srcOrd="0" destOrd="0" presId="urn:microsoft.com/office/officeart/2005/8/layout/radial5"/>
    <dgm:cxn modelId="{004AE3D8-F4BB-4A0E-91EC-412FA9DCB3A5}" type="presOf" srcId="{C760A5F5-8D53-4804-9B00-ED697780B74F}" destId="{266247A1-46AD-459F-A30F-9B671236291D}" srcOrd="0" destOrd="0" presId="urn:microsoft.com/office/officeart/2005/8/layout/radial5"/>
    <dgm:cxn modelId="{245572BF-D835-4D25-A312-D658217F133E}" type="presOf" srcId="{96157984-D939-4647-A3D3-9BBFB4D76932}" destId="{81F40276-13EB-4D56-AA18-7FE2E150D565}" srcOrd="0" destOrd="0" presId="urn:microsoft.com/office/officeart/2005/8/layout/radial5"/>
    <dgm:cxn modelId="{89AC2820-6156-4504-A84E-0F6FBE03014A}" type="presOf" srcId="{96929E85-4E35-4F7A-97D5-9555AF97747B}" destId="{CA428B13-71E7-4F0F-ADF4-C67F7E91EE32}" srcOrd="1" destOrd="0" presId="urn:microsoft.com/office/officeart/2005/8/layout/radial5"/>
    <dgm:cxn modelId="{4634F603-9B69-46F3-B3EE-0A5045F5EA72}" type="presOf" srcId="{96929E85-4E35-4F7A-97D5-9555AF97747B}" destId="{0F71570D-3F20-4E38-AAE9-66DEEF9F189F}" srcOrd="0" destOrd="0" presId="urn:microsoft.com/office/officeart/2005/8/layout/radial5"/>
    <dgm:cxn modelId="{4B2EE7FE-9A65-45AD-83F6-1E0F97B1E3EF}" type="presOf" srcId="{14E77F8C-EC7C-4B91-ABCB-255F55662875}" destId="{5C9980EC-0EE6-4FF3-A456-BD7B8861329C}" srcOrd="0" destOrd="0" presId="urn:microsoft.com/office/officeart/2005/8/layout/radial5"/>
    <dgm:cxn modelId="{A1A17C61-956D-4CF6-B2D2-60263F7BAA03}" srcId="{6BF7A0EA-1875-4A65-89A1-70491F136048}" destId="{BE9CED94-0575-4729-BB3C-8214DE0F7960}" srcOrd="0" destOrd="0" parTransId="{103612AB-940C-4466-838E-2CF57C32FDB6}" sibTransId="{AAFF2B9B-2992-41A4-966D-77FB57EED8F8}"/>
    <dgm:cxn modelId="{64C590CA-27C6-4C51-B936-6A6BC1B7C75F}" type="presOf" srcId="{2189FA0F-6F62-49EA-BB5E-36E7F0CF112D}" destId="{FB1CA16E-0368-49FE-9F40-51262AF2C988}" srcOrd="0" destOrd="0" presId="urn:microsoft.com/office/officeart/2005/8/layout/radial5"/>
    <dgm:cxn modelId="{BB51366C-7471-4203-85FB-B0CD3BFB104B}" type="presOf" srcId="{AAC3FB24-8527-4AEF-AA78-4AF033151FE0}" destId="{0B477FFD-D11D-476D-9FB1-D1DACF682048}" srcOrd="0" destOrd="0" presId="urn:microsoft.com/office/officeart/2005/8/layout/radial5"/>
    <dgm:cxn modelId="{9EC56191-A47B-4A17-BAC7-895B178C2500}" type="presOf" srcId="{2189FA0F-6F62-49EA-BB5E-36E7F0CF112D}" destId="{47119CCE-BB69-48CA-835E-EF5C07D2E908}" srcOrd="1" destOrd="0" presId="urn:microsoft.com/office/officeart/2005/8/layout/radial5"/>
    <dgm:cxn modelId="{F3800E21-7F32-4B00-A1E2-80E415E7BB6E}" srcId="{BE9CED94-0575-4729-BB3C-8214DE0F7960}" destId="{14E77F8C-EC7C-4B91-ABCB-255F55662875}" srcOrd="4" destOrd="0" parTransId="{2189FA0F-6F62-49EA-BB5E-36E7F0CF112D}" sibTransId="{06D6EF14-682B-4C9A-8F1D-69FD99E5AF6D}"/>
    <dgm:cxn modelId="{4253C94E-EF64-4028-BAC1-446AA7D59430}" type="presOf" srcId="{934BA433-1848-41F8-8696-1C82E530CA87}" destId="{37E9C4CF-CE3B-4628-BFAC-59B2173E3CC6}" srcOrd="1" destOrd="0" presId="urn:microsoft.com/office/officeart/2005/8/layout/radial5"/>
    <dgm:cxn modelId="{6DF96DDB-192C-4C74-A8E1-EA78546AB2E6}" type="presOf" srcId="{934BA433-1848-41F8-8696-1C82E530CA87}" destId="{D4D749BA-2138-4A3A-A9FB-78CC6F2809E8}" srcOrd="0" destOrd="0" presId="urn:microsoft.com/office/officeart/2005/8/layout/radial5"/>
    <dgm:cxn modelId="{529B5B2A-65EC-4896-833B-016672C4150C}" type="presOf" srcId="{AAC3FB24-8527-4AEF-AA78-4AF033151FE0}" destId="{9B144908-D7F6-4FD9-B2FB-301980A3105F}" srcOrd="1" destOrd="0" presId="urn:microsoft.com/office/officeart/2005/8/layout/radial5"/>
    <dgm:cxn modelId="{C78FB026-C478-4366-A916-11B28628CD05}" type="presOf" srcId="{BE9CED94-0575-4729-BB3C-8214DE0F7960}" destId="{E94BF5F1-3421-4F2E-81D5-B63A215CBC38}" srcOrd="0" destOrd="0" presId="urn:microsoft.com/office/officeart/2005/8/layout/radial5"/>
    <dgm:cxn modelId="{CD968EA2-B863-4B5F-9AE7-91137CF47080}" srcId="{BE9CED94-0575-4729-BB3C-8214DE0F7960}" destId="{9DE61479-62B7-406A-8354-82C2AAF00FA8}" srcOrd="3" destOrd="0" parTransId="{A0E44129-28E4-4BBD-AAD4-EE84C03E676E}" sibTransId="{4D16E5DE-335C-444C-AEE7-524F3D898658}"/>
    <dgm:cxn modelId="{FC279E26-4D22-45BC-A312-26BBB8B03A87}" type="presParOf" srcId="{E442EE40-DE9B-4547-9272-566938138AC7}" destId="{E94BF5F1-3421-4F2E-81D5-B63A215CBC38}" srcOrd="0" destOrd="0" presId="urn:microsoft.com/office/officeart/2005/8/layout/radial5"/>
    <dgm:cxn modelId="{06AB1DF3-DFC1-42EF-B8AB-ED1E2DF7F5FE}" type="presParOf" srcId="{E442EE40-DE9B-4547-9272-566938138AC7}" destId="{0F71570D-3F20-4E38-AAE9-66DEEF9F189F}" srcOrd="1" destOrd="0" presId="urn:microsoft.com/office/officeart/2005/8/layout/radial5"/>
    <dgm:cxn modelId="{DA9224D8-7F7E-44F8-93CE-267A8A1AEC21}" type="presParOf" srcId="{0F71570D-3F20-4E38-AAE9-66DEEF9F189F}" destId="{CA428B13-71E7-4F0F-ADF4-C67F7E91EE32}" srcOrd="0" destOrd="0" presId="urn:microsoft.com/office/officeart/2005/8/layout/radial5"/>
    <dgm:cxn modelId="{E2416E30-9E22-4A5E-9250-88F77C1BBD2F}" type="presParOf" srcId="{E442EE40-DE9B-4547-9272-566938138AC7}" destId="{266247A1-46AD-459F-A30F-9B671236291D}" srcOrd="2" destOrd="0" presId="urn:microsoft.com/office/officeart/2005/8/layout/radial5"/>
    <dgm:cxn modelId="{C9D1DDAA-88D5-4A67-8E6E-E8D1A2956FBA}" type="presParOf" srcId="{E442EE40-DE9B-4547-9272-566938138AC7}" destId="{D4D749BA-2138-4A3A-A9FB-78CC6F2809E8}" srcOrd="3" destOrd="0" presId="urn:microsoft.com/office/officeart/2005/8/layout/radial5"/>
    <dgm:cxn modelId="{D1B8EB0B-C618-4103-89DE-450E84397E02}" type="presParOf" srcId="{D4D749BA-2138-4A3A-A9FB-78CC6F2809E8}" destId="{37E9C4CF-CE3B-4628-BFAC-59B2173E3CC6}" srcOrd="0" destOrd="0" presId="urn:microsoft.com/office/officeart/2005/8/layout/radial5"/>
    <dgm:cxn modelId="{65CAEBED-0341-44A8-AD9E-95D00A5074DC}" type="presParOf" srcId="{E442EE40-DE9B-4547-9272-566938138AC7}" destId="{06476A31-B4EB-4C52-B865-B64B33EBCECB}" srcOrd="4" destOrd="0" presId="urn:microsoft.com/office/officeart/2005/8/layout/radial5"/>
    <dgm:cxn modelId="{BB3C86FA-BD51-4A9B-BCC3-B7C5FCF5222D}" type="presParOf" srcId="{E442EE40-DE9B-4547-9272-566938138AC7}" destId="{0B477FFD-D11D-476D-9FB1-D1DACF682048}" srcOrd="5" destOrd="0" presId="urn:microsoft.com/office/officeart/2005/8/layout/radial5"/>
    <dgm:cxn modelId="{847DAB36-007C-4744-907C-78CB5DF70274}" type="presParOf" srcId="{0B477FFD-D11D-476D-9FB1-D1DACF682048}" destId="{9B144908-D7F6-4FD9-B2FB-301980A3105F}" srcOrd="0" destOrd="0" presId="urn:microsoft.com/office/officeart/2005/8/layout/radial5"/>
    <dgm:cxn modelId="{6745516E-3D34-4687-B181-F93C41C3F752}" type="presParOf" srcId="{E442EE40-DE9B-4547-9272-566938138AC7}" destId="{81F40276-13EB-4D56-AA18-7FE2E150D565}" srcOrd="6" destOrd="0" presId="urn:microsoft.com/office/officeart/2005/8/layout/radial5"/>
    <dgm:cxn modelId="{CA5E12E9-ECC3-421F-9D9E-AA6D8511A898}" type="presParOf" srcId="{E442EE40-DE9B-4547-9272-566938138AC7}" destId="{611B0DB2-E17C-439E-811A-5B401C93CBCB}" srcOrd="7" destOrd="0" presId="urn:microsoft.com/office/officeart/2005/8/layout/radial5"/>
    <dgm:cxn modelId="{91AC47B5-9FC1-4621-83F1-7FDE8739BB88}" type="presParOf" srcId="{611B0DB2-E17C-439E-811A-5B401C93CBCB}" destId="{F1AC76B0-7A34-4564-B019-F4BAB5D66302}" srcOrd="0" destOrd="0" presId="urn:microsoft.com/office/officeart/2005/8/layout/radial5"/>
    <dgm:cxn modelId="{ED8186D3-EB9E-410D-9A28-C8E23E246AF8}" type="presParOf" srcId="{E442EE40-DE9B-4547-9272-566938138AC7}" destId="{D6410032-EF07-4A34-9CF7-AA6CE76CD10B}" srcOrd="8" destOrd="0" presId="urn:microsoft.com/office/officeart/2005/8/layout/radial5"/>
    <dgm:cxn modelId="{43300702-8210-44C0-972C-AF632192FBC2}" type="presParOf" srcId="{E442EE40-DE9B-4547-9272-566938138AC7}" destId="{FB1CA16E-0368-49FE-9F40-51262AF2C988}" srcOrd="9" destOrd="0" presId="urn:microsoft.com/office/officeart/2005/8/layout/radial5"/>
    <dgm:cxn modelId="{4369B2C0-F7AA-44F3-82B9-CC49DAA53662}" type="presParOf" srcId="{FB1CA16E-0368-49FE-9F40-51262AF2C988}" destId="{47119CCE-BB69-48CA-835E-EF5C07D2E908}" srcOrd="0" destOrd="0" presId="urn:microsoft.com/office/officeart/2005/8/layout/radial5"/>
    <dgm:cxn modelId="{72090BB5-48AE-45CC-9464-E99DA3357C01}" type="presParOf" srcId="{E442EE40-DE9B-4547-9272-566938138AC7}" destId="{5C9980EC-0EE6-4FF3-A456-BD7B8861329C}" srcOrd="10" destOrd="0" presId="urn:microsoft.com/office/officeart/2005/8/layout/radial5"/>
  </dgm:cxnLst>
  <dgm:bg>
    <a:noFill/>
  </dgm:bg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4BF5F1-3421-4F2E-81D5-B63A215CBC38}">
      <dsp:nvSpPr>
        <dsp:cNvPr id="0" name=""/>
        <dsp:cNvSpPr/>
      </dsp:nvSpPr>
      <dsp:spPr>
        <a:xfrm>
          <a:off x="1545464" y="1736374"/>
          <a:ext cx="1157542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200" b="1" kern="1200" dirty="0" smtClean="0"/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200" b="1" kern="1200" dirty="0"/>
        </a:p>
      </dsp:txBody>
      <dsp:txXfrm>
        <a:off x="1714982" y="1905892"/>
        <a:ext cx="818506" cy="818506"/>
      </dsp:txXfrm>
    </dsp:sp>
    <dsp:sp modelId="{0F71570D-3F20-4E38-AAE9-66DEEF9F189F}">
      <dsp:nvSpPr>
        <dsp:cNvPr id="0" name=""/>
        <dsp:cNvSpPr/>
      </dsp:nvSpPr>
      <dsp:spPr>
        <a:xfrm rot="16143883">
          <a:off x="1986977" y="1312565"/>
          <a:ext cx="248208" cy="393564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solidFill>
            <a:schemeClr val="tx2">
              <a:lumMod val="60000"/>
              <a:lumOff val="40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 rot="10800000">
        <a:off x="2024816" y="1428504"/>
        <a:ext cx="173746" cy="236138"/>
      </dsp:txXfrm>
    </dsp:sp>
    <dsp:sp modelId="{266247A1-46AD-459F-A30F-9B671236291D}">
      <dsp:nvSpPr>
        <dsp:cNvPr id="0" name=""/>
        <dsp:cNvSpPr/>
      </dsp:nvSpPr>
      <dsp:spPr>
        <a:xfrm>
          <a:off x="1518925" y="110731"/>
          <a:ext cx="1157542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>
        <a:off x="1688443" y="280249"/>
        <a:ext cx="818506" cy="818506"/>
      </dsp:txXfrm>
    </dsp:sp>
    <dsp:sp modelId="{D4D749BA-2138-4A3A-A9FB-78CC6F2809E8}">
      <dsp:nvSpPr>
        <dsp:cNvPr id="0" name=""/>
        <dsp:cNvSpPr/>
      </dsp:nvSpPr>
      <dsp:spPr>
        <a:xfrm rot="20520000">
          <a:off x="2765873" y="1869874"/>
          <a:ext cx="246265" cy="3935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 dirty="0"/>
        </a:p>
      </dsp:txBody>
      <dsp:txXfrm>
        <a:off x="2767681" y="1960002"/>
        <a:ext cx="172386" cy="236138"/>
      </dsp:txXfrm>
    </dsp:sp>
    <dsp:sp modelId="{06476A31-B4EB-4C52-B865-B64B33EBCECB}">
      <dsp:nvSpPr>
        <dsp:cNvPr id="0" name=""/>
        <dsp:cNvSpPr/>
      </dsp:nvSpPr>
      <dsp:spPr>
        <a:xfrm>
          <a:off x="3088262" y="1235088"/>
          <a:ext cx="1157542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>
        <a:off x="3257780" y="1404606"/>
        <a:ext cx="818506" cy="818506"/>
      </dsp:txXfrm>
    </dsp:sp>
    <dsp:sp modelId="{0B477FFD-D11D-476D-9FB1-D1DACF682048}">
      <dsp:nvSpPr>
        <dsp:cNvPr id="0" name=""/>
        <dsp:cNvSpPr/>
      </dsp:nvSpPr>
      <dsp:spPr>
        <a:xfrm rot="3240000">
          <a:off x="2473650" y="2766817"/>
          <a:ext cx="243430" cy="3935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>
        <a:off x="2488702" y="2815989"/>
        <a:ext cx="170401" cy="236138"/>
      </dsp:txXfrm>
    </dsp:sp>
    <dsp:sp modelId="{81F40276-13EB-4D56-AA18-7FE2E150D565}">
      <dsp:nvSpPr>
        <dsp:cNvPr id="0" name=""/>
        <dsp:cNvSpPr/>
      </dsp:nvSpPr>
      <dsp:spPr>
        <a:xfrm>
          <a:off x="2483067" y="3048756"/>
          <a:ext cx="1189340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>
        <a:off x="2657242" y="3218274"/>
        <a:ext cx="840990" cy="818506"/>
      </dsp:txXfrm>
    </dsp:sp>
    <dsp:sp modelId="{611B0DB2-E17C-439E-811A-5B401C93CBCB}">
      <dsp:nvSpPr>
        <dsp:cNvPr id="0" name=""/>
        <dsp:cNvSpPr/>
      </dsp:nvSpPr>
      <dsp:spPr>
        <a:xfrm rot="7560000">
          <a:off x="1528449" y="2768915"/>
          <a:ext cx="246265" cy="3935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 rot="10800000">
        <a:off x="1587101" y="2817743"/>
        <a:ext cx="172386" cy="236138"/>
      </dsp:txXfrm>
    </dsp:sp>
    <dsp:sp modelId="{D6410032-EF07-4A34-9CF7-AA6CE76CD10B}">
      <dsp:nvSpPr>
        <dsp:cNvPr id="0" name=""/>
        <dsp:cNvSpPr/>
      </dsp:nvSpPr>
      <dsp:spPr>
        <a:xfrm>
          <a:off x="591963" y="3048756"/>
          <a:ext cx="1157542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>
        <a:off x="761481" y="3218274"/>
        <a:ext cx="818506" cy="818506"/>
      </dsp:txXfrm>
    </dsp:sp>
    <dsp:sp modelId="{FB1CA16E-0368-49FE-9F40-51262AF2C988}">
      <dsp:nvSpPr>
        <dsp:cNvPr id="0" name=""/>
        <dsp:cNvSpPr/>
      </dsp:nvSpPr>
      <dsp:spPr>
        <a:xfrm rot="11880000">
          <a:off x="1236333" y="1869874"/>
          <a:ext cx="246265" cy="3935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 rot="10800000">
        <a:off x="1308404" y="1960002"/>
        <a:ext cx="172386" cy="236138"/>
      </dsp:txXfrm>
    </dsp:sp>
    <dsp:sp modelId="{5C9980EC-0EE6-4FF3-A456-BD7B8861329C}">
      <dsp:nvSpPr>
        <dsp:cNvPr id="0" name=""/>
        <dsp:cNvSpPr/>
      </dsp:nvSpPr>
      <dsp:spPr>
        <a:xfrm>
          <a:off x="2666" y="1235088"/>
          <a:ext cx="1157542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>
        <a:off x="172184" y="1404606"/>
        <a:ext cx="818506" cy="8185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4BF5F1-3421-4F2E-81D5-B63A215CBC38}">
      <dsp:nvSpPr>
        <dsp:cNvPr id="0" name=""/>
        <dsp:cNvSpPr/>
      </dsp:nvSpPr>
      <dsp:spPr>
        <a:xfrm>
          <a:off x="1545464" y="1736374"/>
          <a:ext cx="1157542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200" b="1" kern="1200" dirty="0" smtClean="0"/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200" b="1" kern="1200" dirty="0"/>
        </a:p>
      </dsp:txBody>
      <dsp:txXfrm>
        <a:off x="1714982" y="1905892"/>
        <a:ext cx="818506" cy="818506"/>
      </dsp:txXfrm>
    </dsp:sp>
    <dsp:sp modelId="{0F71570D-3F20-4E38-AAE9-66DEEF9F189F}">
      <dsp:nvSpPr>
        <dsp:cNvPr id="0" name=""/>
        <dsp:cNvSpPr/>
      </dsp:nvSpPr>
      <dsp:spPr>
        <a:xfrm rot="16143883">
          <a:off x="1986977" y="1312565"/>
          <a:ext cx="248208" cy="393564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solidFill>
            <a:schemeClr val="tx2">
              <a:lumMod val="60000"/>
              <a:lumOff val="40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 rot="10800000">
        <a:off x="2024816" y="1428504"/>
        <a:ext cx="173746" cy="236138"/>
      </dsp:txXfrm>
    </dsp:sp>
    <dsp:sp modelId="{266247A1-46AD-459F-A30F-9B671236291D}">
      <dsp:nvSpPr>
        <dsp:cNvPr id="0" name=""/>
        <dsp:cNvSpPr/>
      </dsp:nvSpPr>
      <dsp:spPr>
        <a:xfrm>
          <a:off x="1518925" y="110731"/>
          <a:ext cx="1157542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>
        <a:off x="1688443" y="280249"/>
        <a:ext cx="818506" cy="818506"/>
      </dsp:txXfrm>
    </dsp:sp>
    <dsp:sp modelId="{D4D749BA-2138-4A3A-A9FB-78CC6F2809E8}">
      <dsp:nvSpPr>
        <dsp:cNvPr id="0" name=""/>
        <dsp:cNvSpPr/>
      </dsp:nvSpPr>
      <dsp:spPr>
        <a:xfrm rot="20520000">
          <a:off x="2765873" y="1869874"/>
          <a:ext cx="246265" cy="3935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 dirty="0"/>
        </a:p>
      </dsp:txBody>
      <dsp:txXfrm>
        <a:off x="2767681" y="1960002"/>
        <a:ext cx="172386" cy="236138"/>
      </dsp:txXfrm>
    </dsp:sp>
    <dsp:sp modelId="{06476A31-B4EB-4C52-B865-B64B33EBCECB}">
      <dsp:nvSpPr>
        <dsp:cNvPr id="0" name=""/>
        <dsp:cNvSpPr/>
      </dsp:nvSpPr>
      <dsp:spPr>
        <a:xfrm>
          <a:off x="3088262" y="1235088"/>
          <a:ext cx="1157542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>
        <a:off x="3257780" y="1404606"/>
        <a:ext cx="818506" cy="818506"/>
      </dsp:txXfrm>
    </dsp:sp>
    <dsp:sp modelId="{0B477FFD-D11D-476D-9FB1-D1DACF682048}">
      <dsp:nvSpPr>
        <dsp:cNvPr id="0" name=""/>
        <dsp:cNvSpPr/>
      </dsp:nvSpPr>
      <dsp:spPr>
        <a:xfrm rot="3240000">
          <a:off x="2473650" y="2766817"/>
          <a:ext cx="243430" cy="3935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>
        <a:off x="2488702" y="2815989"/>
        <a:ext cx="170401" cy="236138"/>
      </dsp:txXfrm>
    </dsp:sp>
    <dsp:sp modelId="{81F40276-13EB-4D56-AA18-7FE2E150D565}">
      <dsp:nvSpPr>
        <dsp:cNvPr id="0" name=""/>
        <dsp:cNvSpPr/>
      </dsp:nvSpPr>
      <dsp:spPr>
        <a:xfrm>
          <a:off x="2483067" y="3048756"/>
          <a:ext cx="1189340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>
        <a:off x="2657242" y="3218274"/>
        <a:ext cx="840990" cy="818506"/>
      </dsp:txXfrm>
    </dsp:sp>
    <dsp:sp modelId="{611B0DB2-E17C-439E-811A-5B401C93CBCB}">
      <dsp:nvSpPr>
        <dsp:cNvPr id="0" name=""/>
        <dsp:cNvSpPr/>
      </dsp:nvSpPr>
      <dsp:spPr>
        <a:xfrm rot="7560000">
          <a:off x="1528449" y="2768915"/>
          <a:ext cx="246265" cy="3935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 rot="10800000">
        <a:off x="1587101" y="2817743"/>
        <a:ext cx="172386" cy="236138"/>
      </dsp:txXfrm>
    </dsp:sp>
    <dsp:sp modelId="{D6410032-EF07-4A34-9CF7-AA6CE76CD10B}">
      <dsp:nvSpPr>
        <dsp:cNvPr id="0" name=""/>
        <dsp:cNvSpPr/>
      </dsp:nvSpPr>
      <dsp:spPr>
        <a:xfrm>
          <a:off x="591963" y="3048756"/>
          <a:ext cx="1157542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>
        <a:off x="761481" y="3218274"/>
        <a:ext cx="818506" cy="818506"/>
      </dsp:txXfrm>
    </dsp:sp>
    <dsp:sp modelId="{FB1CA16E-0368-49FE-9F40-51262AF2C988}">
      <dsp:nvSpPr>
        <dsp:cNvPr id="0" name=""/>
        <dsp:cNvSpPr/>
      </dsp:nvSpPr>
      <dsp:spPr>
        <a:xfrm rot="11908053">
          <a:off x="1233181" y="1862539"/>
          <a:ext cx="250069" cy="3935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 rot="10800000">
        <a:off x="1306270" y="1953134"/>
        <a:ext cx="175048" cy="236138"/>
      </dsp:txXfrm>
    </dsp:sp>
    <dsp:sp modelId="{5C9980EC-0EE6-4FF3-A456-BD7B8861329C}">
      <dsp:nvSpPr>
        <dsp:cNvPr id="0" name=""/>
        <dsp:cNvSpPr/>
      </dsp:nvSpPr>
      <dsp:spPr>
        <a:xfrm>
          <a:off x="0" y="1220242"/>
          <a:ext cx="1157542" cy="1157542"/>
        </a:xfrm>
        <a:prstGeom prst="ellipse">
          <a:avLst/>
        </a:prstGeom>
        <a:solidFill>
          <a:srgbClr val="FFCC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>
        <a:off x="169518" y="1389760"/>
        <a:ext cx="818506" cy="8185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8AD02E06-4790-4DA3-A0FB-BDDC0A2EA8A4}" type="datetimeFigureOut">
              <a:rPr lang="pt-BR" smtClean="0"/>
              <a:pPr/>
              <a:t>21/04/2020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AA6A9F0-6EBA-441F-8DE4-EF144DF031D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190132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BD152291-BEFC-40AD-9100-839B9284DB57}" type="datetimeFigureOut">
              <a:rPr lang="pt-BR" smtClean="0"/>
              <a:pPr/>
              <a:t>21/04/2020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1D377B4F-7F14-42ED-958D-E23E5ADE957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4794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Trebuchet M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+mn-lt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Trebuchet MS" pitchFamily="34" charset="0"/>
              </a:defRPr>
            </a:lvl1pPr>
            <a:lvl2pPr>
              <a:defRPr>
                <a:latin typeface="Trebuchet MS" pitchFamily="34" charset="0"/>
              </a:defRPr>
            </a:lvl2pPr>
            <a:lvl3pPr>
              <a:defRPr>
                <a:latin typeface="Trebuchet MS" pitchFamily="34" charset="0"/>
              </a:defRPr>
            </a:lvl3pPr>
            <a:lvl4pPr>
              <a:defRPr>
                <a:latin typeface="Trebuchet MS" pitchFamily="34" charset="0"/>
              </a:defRPr>
            </a:lvl4pPr>
            <a:lvl5pPr>
              <a:defRPr>
                <a:latin typeface="Trebuchet MS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+mn-lt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Trebuchet MS" pitchFamily="34" charset="0"/>
              </a:defRPr>
            </a:lvl1pPr>
            <a:lvl2pPr>
              <a:defRPr>
                <a:latin typeface="Trebuchet MS" pitchFamily="34" charset="0"/>
              </a:defRPr>
            </a:lvl2pPr>
            <a:lvl3pPr>
              <a:defRPr>
                <a:latin typeface="Trebuchet MS" pitchFamily="34" charset="0"/>
              </a:defRPr>
            </a:lvl3pPr>
            <a:lvl4pPr>
              <a:defRPr>
                <a:latin typeface="Trebuchet MS" pitchFamily="34" charset="0"/>
              </a:defRPr>
            </a:lvl4pPr>
            <a:lvl5pPr>
              <a:defRPr>
                <a:latin typeface="Trebuchet MS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+mn-lt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itchFamily="34" charset="0"/>
              </a:defRPr>
            </a:lvl1pPr>
            <a:lvl2pPr>
              <a:defRPr>
                <a:latin typeface="Trebuchet MS" pitchFamily="34" charset="0"/>
              </a:defRPr>
            </a:lvl2pPr>
            <a:lvl3pPr>
              <a:defRPr>
                <a:latin typeface="Trebuchet MS" pitchFamily="34" charset="0"/>
              </a:defRPr>
            </a:lvl3pPr>
            <a:lvl4pPr>
              <a:defRPr>
                <a:latin typeface="Trebuchet MS" pitchFamily="34" charset="0"/>
              </a:defRPr>
            </a:lvl4pPr>
            <a:lvl5pPr>
              <a:defRPr>
                <a:latin typeface="Trebuchet MS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+mn-lt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latin typeface="Trebuchet MS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Trebuchet MS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+mn-lt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Trebuchet MS" pitchFamily="34" charset="0"/>
              </a:defRPr>
            </a:lvl1pPr>
            <a:lvl2pPr>
              <a:defRPr sz="2400">
                <a:latin typeface="Trebuchet MS" pitchFamily="34" charset="0"/>
              </a:defRPr>
            </a:lvl2pPr>
            <a:lvl3pPr>
              <a:defRPr sz="2000">
                <a:latin typeface="Trebuchet MS" pitchFamily="34" charset="0"/>
              </a:defRPr>
            </a:lvl3pPr>
            <a:lvl4pPr>
              <a:defRPr sz="1800">
                <a:latin typeface="Trebuchet MS" pitchFamily="34" charset="0"/>
              </a:defRPr>
            </a:lvl4pPr>
            <a:lvl5pPr>
              <a:defRPr sz="1800">
                <a:latin typeface="Trebuchet M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Trebuchet MS" pitchFamily="34" charset="0"/>
              </a:defRPr>
            </a:lvl1pPr>
            <a:lvl2pPr>
              <a:defRPr sz="2400">
                <a:latin typeface="Trebuchet MS" pitchFamily="34" charset="0"/>
              </a:defRPr>
            </a:lvl2pPr>
            <a:lvl3pPr>
              <a:defRPr sz="2000">
                <a:latin typeface="Trebuchet MS" pitchFamily="34" charset="0"/>
              </a:defRPr>
            </a:lvl3pPr>
            <a:lvl4pPr>
              <a:defRPr sz="1800">
                <a:latin typeface="Trebuchet MS" pitchFamily="34" charset="0"/>
              </a:defRPr>
            </a:lvl4pPr>
            <a:lvl5pPr>
              <a:defRPr sz="1800">
                <a:latin typeface="Trebuchet M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endParaRPr lang="pt-BR" dirty="0"/>
          </a:p>
        </p:txBody>
      </p:sp>
      <p:sp>
        <p:nvSpPr>
          <p:cNvPr id="8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Trebuchet MS" pitchFamily="34" charset="0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Trebuchet MS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rebuchet MS" pitchFamily="34" charset="0"/>
              </a:defRPr>
            </a:lvl1pPr>
            <a:lvl2pPr>
              <a:defRPr sz="2000">
                <a:latin typeface="Trebuchet MS" pitchFamily="34" charset="0"/>
              </a:defRPr>
            </a:lvl2pPr>
            <a:lvl3pPr>
              <a:defRPr sz="1800">
                <a:latin typeface="Trebuchet MS" pitchFamily="34" charset="0"/>
              </a:defRPr>
            </a:lvl3pPr>
            <a:lvl4pPr>
              <a:defRPr sz="1600">
                <a:latin typeface="Trebuchet MS" pitchFamily="34" charset="0"/>
              </a:defRPr>
            </a:lvl4pPr>
            <a:lvl5pPr>
              <a:defRPr sz="1600">
                <a:latin typeface="Trebuchet MS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Trebuchet MS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rebuchet MS" pitchFamily="34" charset="0"/>
              </a:defRPr>
            </a:lvl1pPr>
            <a:lvl2pPr>
              <a:defRPr sz="2000">
                <a:latin typeface="Trebuchet MS" pitchFamily="34" charset="0"/>
              </a:defRPr>
            </a:lvl2pPr>
            <a:lvl3pPr>
              <a:defRPr sz="1800">
                <a:latin typeface="Trebuchet MS" pitchFamily="34" charset="0"/>
              </a:defRPr>
            </a:lvl3pPr>
            <a:lvl4pPr>
              <a:defRPr sz="1600">
                <a:latin typeface="Trebuchet MS" pitchFamily="34" charset="0"/>
              </a:defRPr>
            </a:lvl4pPr>
            <a:lvl5pPr>
              <a:defRPr sz="1600">
                <a:latin typeface="Trebuchet MS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10" name="Rectangle 280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+mn-lt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+mn-lt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+mn-lt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Trebuchet MS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Trebuchet MS" pitchFamily="34" charset="0"/>
              </a:defRPr>
            </a:lvl1pPr>
            <a:lvl2pPr>
              <a:defRPr sz="2800">
                <a:latin typeface="Trebuchet MS" pitchFamily="34" charset="0"/>
              </a:defRPr>
            </a:lvl2pPr>
            <a:lvl3pPr>
              <a:defRPr sz="2400">
                <a:latin typeface="Trebuchet MS" pitchFamily="34" charset="0"/>
              </a:defRPr>
            </a:lvl3pPr>
            <a:lvl4pPr>
              <a:defRPr sz="2000">
                <a:latin typeface="Trebuchet MS" pitchFamily="34" charset="0"/>
              </a:defRPr>
            </a:lvl4pPr>
            <a:lvl5pPr>
              <a:defRPr sz="2000">
                <a:latin typeface="Trebuchet MS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Trebuchet MS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8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+mn-lt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Trebuchet MS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Trebuchet M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Trebuchet MS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8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+mn-lt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7524328" y="6658069"/>
            <a:ext cx="111569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957040">
              <a:defRPr/>
            </a:pPr>
            <a:r>
              <a:rPr lang="pt-BR" sz="1100" b="0" dirty="0" smtClean="0">
                <a:solidFill>
                  <a:srgbClr val="004B7F"/>
                </a:solidFill>
                <a:latin typeface="+mn-lt"/>
              </a:rPr>
              <a:t>MRS Logística S/A</a:t>
            </a:r>
            <a:endParaRPr lang="pt-BR" sz="1100" b="0" dirty="0">
              <a:solidFill>
                <a:srgbClr val="004B7F"/>
              </a:solidFill>
              <a:latin typeface="+mn-lt"/>
            </a:endParaRPr>
          </a:p>
        </p:txBody>
      </p:sp>
      <p:sp>
        <p:nvSpPr>
          <p:cNvPr id="9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5157" y="6658063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004B7F"/>
                </a:solidFill>
                <a:latin typeface="+mn-lt"/>
              </a:defRPr>
            </a:lvl1pPr>
          </a:lstStyle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‹nº›</a:t>
            </a:fld>
            <a:r>
              <a:rPr lang="pt-BR" dirty="0" smtClean="0"/>
              <a:t> </a:t>
            </a:r>
            <a:endParaRPr lang="pt-BR" dirty="0"/>
          </a:p>
        </p:txBody>
      </p:sp>
      <p:sp>
        <p:nvSpPr>
          <p:cNvPr id="10" name="SlideLogoSeparator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auto">
          <a:xfrm>
            <a:off x="8690476" y="6625675"/>
            <a:ext cx="8816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957040">
              <a:defRPr/>
            </a:pPr>
            <a:r>
              <a:rPr lang="pt-BR" sz="1300" b="0" dirty="0">
                <a:solidFill>
                  <a:srgbClr val="004B7F"/>
                </a:solidFill>
                <a:latin typeface="+mn-lt"/>
              </a:rPr>
              <a:t>|</a:t>
            </a:r>
          </a:p>
        </p:txBody>
      </p:sp>
      <p:pic>
        <p:nvPicPr>
          <p:cNvPr id="14" name="Picture 4" descr="T:\MRS\CRIAÇÃO\ML 002715 PROGRAMA DE ESTÁGIO\Lamina PPT-02.jp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92"/>
          <a:stretch>
            <a:fillRect/>
          </a:stretch>
        </p:blipFill>
        <p:spPr bwMode="auto">
          <a:xfrm>
            <a:off x="0" y="-27384"/>
            <a:ext cx="9180512" cy="68862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aixaDeTexto 14"/>
          <p:cNvSpPr txBox="1"/>
          <p:nvPr userDrawn="1"/>
        </p:nvSpPr>
        <p:spPr>
          <a:xfrm>
            <a:off x="114545" y="67463"/>
            <a:ext cx="2650021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600" b="1" dirty="0" smtClean="0"/>
              <a:t>Projeto Aplicativo</a:t>
            </a:r>
            <a:endParaRPr lang="pt-BR" sz="2600" b="1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1</a:t>
            </a:fld>
            <a:r>
              <a:rPr lang="pt-BR" smtClean="0"/>
              <a:t> </a:t>
            </a:r>
            <a:endParaRPr lang="pt-BR" dirty="0"/>
          </a:p>
        </p:txBody>
      </p:sp>
      <p:pic>
        <p:nvPicPr>
          <p:cNvPr id="7" name="Picture 4" descr="T:\MRS\CRIAÇÃO\ML 002715 PROGRAMA DE ESTÁGIO\Lamina PPT-0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92" b="90589"/>
          <a:stretch>
            <a:fillRect/>
          </a:stretch>
        </p:blipFill>
        <p:spPr bwMode="auto">
          <a:xfrm>
            <a:off x="2677" y="-27384"/>
            <a:ext cx="9180512" cy="8640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T:\MRS\CRIAÇÃO\ML 002715 PROGRAMA DE ESTÁGIO\Lamina PPT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01"/>
          <a:stretch>
            <a:fillRect/>
          </a:stretch>
        </p:blipFill>
        <p:spPr bwMode="auto">
          <a:xfrm>
            <a:off x="2677" y="803893"/>
            <a:ext cx="9180512" cy="62255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aixaDeTexto 7"/>
          <p:cNvSpPr txBox="1"/>
          <p:nvPr/>
        </p:nvSpPr>
        <p:spPr>
          <a:xfrm>
            <a:off x="-36512" y="128245"/>
            <a:ext cx="390042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600" b="1" dirty="0" smtClean="0"/>
              <a:t>Tema do Projeto Aplicativo</a:t>
            </a:r>
            <a:endParaRPr lang="pt-BR" sz="2600" b="1" dirty="0"/>
          </a:p>
        </p:txBody>
      </p:sp>
      <p:sp>
        <p:nvSpPr>
          <p:cNvPr id="9" name="Retângulo de cantos arredondados 8"/>
          <p:cNvSpPr/>
          <p:nvPr/>
        </p:nvSpPr>
        <p:spPr>
          <a:xfrm>
            <a:off x="4755205" y="5373216"/>
            <a:ext cx="4283968" cy="530182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 smtClean="0">
                <a:solidFill>
                  <a:schemeClr val="tx1"/>
                </a:solidFill>
              </a:rPr>
              <a:t>Estagiário: Joyce </a:t>
            </a:r>
            <a:r>
              <a:rPr lang="pt-BR" sz="1400" dirty="0" err="1" smtClean="0">
                <a:solidFill>
                  <a:schemeClr val="tx1"/>
                </a:solidFill>
              </a:rPr>
              <a:t>Lomar</a:t>
            </a:r>
            <a:r>
              <a:rPr lang="pt-BR" sz="1400" dirty="0" smtClean="0">
                <a:solidFill>
                  <a:schemeClr val="tx1"/>
                </a:solidFill>
              </a:rPr>
              <a:t> e Letícia Cabral </a:t>
            </a:r>
          </a:p>
          <a:p>
            <a:r>
              <a:rPr lang="pt-BR" sz="1400" dirty="0" err="1" smtClean="0">
                <a:solidFill>
                  <a:schemeClr val="tx1"/>
                </a:solidFill>
              </a:rPr>
              <a:t>Sponsor</a:t>
            </a:r>
            <a:r>
              <a:rPr lang="pt-BR" sz="1400" dirty="0" smtClean="0">
                <a:solidFill>
                  <a:schemeClr val="tx1"/>
                </a:solidFill>
              </a:rPr>
              <a:t>: Fernanda Monteiro Machado </a:t>
            </a:r>
            <a:r>
              <a:rPr lang="pt-BR" sz="1400" dirty="0" err="1" smtClean="0">
                <a:solidFill>
                  <a:schemeClr val="tx1"/>
                </a:solidFill>
              </a:rPr>
              <a:t>Falce</a:t>
            </a:r>
            <a:endParaRPr lang="pt-BR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63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ângulo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100" dirty="0">
              <a:latin typeface="Calibri"/>
              <a:sym typeface="Calibri"/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10</a:t>
            </a:fld>
            <a:r>
              <a:rPr lang="pt-BR" dirty="0" smtClean="0"/>
              <a:t> </a:t>
            </a:r>
            <a:endParaRPr lang="pt-BR" dirty="0"/>
          </a:p>
        </p:txBody>
      </p:sp>
      <p:graphicFrame>
        <p:nvGraphicFramePr>
          <p:cNvPr id="15" name="Tabe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7109726"/>
              </p:ext>
            </p:extLst>
          </p:nvPr>
        </p:nvGraphicFramePr>
        <p:xfrm>
          <a:off x="179512" y="2132856"/>
          <a:ext cx="8823820" cy="2732526"/>
        </p:xfrm>
        <a:graphic>
          <a:graphicData uri="http://schemas.openxmlformats.org/drawingml/2006/table">
            <a:tbl>
              <a:tblPr firstRow="1" bandRow="1"/>
              <a:tblGrid>
                <a:gridCol w="1291552"/>
                <a:gridCol w="627689"/>
                <a:gridCol w="627689"/>
                <a:gridCol w="627689"/>
                <a:gridCol w="627689"/>
                <a:gridCol w="627689"/>
                <a:gridCol w="627689"/>
                <a:gridCol w="627689"/>
                <a:gridCol w="627689"/>
                <a:gridCol w="627689"/>
                <a:gridCol w="627689"/>
                <a:gridCol w="627689"/>
                <a:gridCol w="627689"/>
              </a:tblGrid>
              <a:tr h="409701"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Fases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Jan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Fev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Mar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Abr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Mai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Jun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Jul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Ago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Set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Out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Nov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dirty="0" smtClean="0"/>
                        <a:t>Dez</a:t>
                      </a:r>
                      <a:endParaRPr lang="pt-BR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09701"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000" dirty="0" smtClean="0"/>
                        <a:t>Estudo do</a:t>
                      </a:r>
                      <a:r>
                        <a:rPr lang="pt-BR" sz="1000" baseline="0" dirty="0" smtClean="0"/>
                        <a:t> crédito de Carbono</a:t>
                      </a:r>
                      <a:endParaRPr lang="pt-BR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4B7F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</a:tr>
              <a:tr h="409701"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000" dirty="0" smtClean="0"/>
                        <a:t>Estudo</a:t>
                      </a:r>
                      <a:r>
                        <a:rPr lang="pt-BR" sz="1000" baseline="0" dirty="0" smtClean="0"/>
                        <a:t> de Mercado</a:t>
                      </a:r>
                      <a:endParaRPr lang="pt-BR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09701"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000" dirty="0" smtClean="0"/>
                        <a:t>Cálculos</a:t>
                      </a:r>
                      <a:r>
                        <a:rPr lang="pt-BR" sz="1000" baseline="0" dirty="0" smtClean="0"/>
                        <a:t> Eficiência Energética</a:t>
                      </a:r>
                      <a:endParaRPr lang="pt-BR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</a:tr>
              <a:tr h="409701"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000" dirty="0" smtClean="0"/>
                        <a:t>Contato Consultorias</a:t>
                      </a:r>
                      <a:endParaRPr lang="pt-BR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2353"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000" dirty="0" smtClean="0"/>
                        <a:t>Análise</a:t>
                      </a:r>
                      <a:r>
                        <a:rPr lang="pt-BR" sz="1000" baseline="0" dirty="0" smtClean="0"/>
                        <a:t> Financeira</a:t>
                      </a:r>
                      <a:endParaRPr lang="pt-BR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7F">
                        <a:alpha val="20000"/>
                      </a:srgbClr>
                    </a:solidFill>
                  </a:tcPr>
                </a:tc>
              </a:tr>
              <a:tr h="409701"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000" dirty="0" smtClean="0"/>
                        <a:t>Viabilidade</a:t>
                      </a:r>
                      <a:r>
                        <a:rPr lang="pt-BR" sz="1000" baseline="0" dirty="0" smtClean="0"/>
                        <a:t> do projeto</a:t>
                      </a:r>
                      <a:endParaRPr lang="pt-BR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endParaRPr lang="pt-BR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pt-BR" sz="1200" b="1" dirty="0" smtClean="0"/>
                        <a:t>XXXX</a:t>
                      </a:r>
                      <a:endParaRPr lang="pt-BR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04B7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Retângulo de cantos arredondados 8"/>
          <p:cNvSpPr/>
          <p:nvPr/>
        </p:nvSpPr>
        <p:spPr>
          <a:xfrm>
            <a:off x="2339752" y="794399"/>
            <a:ext cx="3744416" cy="576064"/>
          </a:xfrm>
          <a:prstGeom prst="roundRect">
            <a:avLst/>
          </a:prstGeom>
          <a:ln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2000" b="1" i="1" dirty="0" smtClean="0">
                <a:solidFill>
                  <a:schemeClr val="tx1"/>
                </a:solidFill>
              </a:rPr>
              <a:t>Cronograma</a:t>
            </a:r>
            <a:endParaRPr lang="pt-BR" sz="20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11</a:t>
            </a:fld>
            <a:r>
              <a:rPr lang="pt-BR" smtClean="0"/>
              <a:t> </a:t>
            </a:r>
            <a:endParaRPr lang="pt-BR" dirty="0"/>
          </a:p>
        </p:txBody>
      </p:sp>
      <p:sp>
        <p:nvSpPr>
          <p:cNvPr id="3" name="Retângulo 2"/>
          <p:cNvSpPr/>
          <p:nvPr/>
        </p:nvSpPr>
        <p:spPr>
          <a:xfrm>
            <a:off x="1259632" y="2420888"/>
            <a:ext cx="6408712" cy="132343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pt-BR" sz="7200" b="1" dirty="0" smtClean="0">
                <a:solidFill>
                  <a:schemeClr val="accent1">
                    <a:lumMod val="75000"/>
                  </a:schemeClr>
                </a:solidFill>
                <a:latin typeface="Trebuchet MS" pitchFamily="34" charset="0"/>
              </a:rPr>
              <a:t>OBRIGADA</a:t>
            </a:r>
            <a:r>
              <a:rPr lang="pt-BR" sz="8000" b="1" dirty="0" smtClean="0">
                <a:solidFill>
                  <a:schemeClr val="accent1">
                    <a:lumMod val="75000"/>
                  </a:schemeClr>
                </a:solidFill>
                <a:latin typeface="Trebuchet MS" pitchFamily="34" charset="0"/>
              </a:rPr>
              <a:t>!</a:t>
            </a:r>
            <a:endParaRPr lang="pt-BR" sz="8000" dirty="0"/>
          </a:p>
        </p:txBody>
      </p:sp>
      <p:sp>
        <p:nvSpPr>
          <p:cNvPr id="4" name="CaixaDeTexto 3"/>
          <p:cNvSpPr txBox="1"/>
          <p:nvPr/>
        </p:nvSpPr>
        <p:spPr>
          <a:xfrm>
            <a:off x="179512" y="5517232"/>
            <a:ext cx="31683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u="sng" dirty="0" smtClean="0">
                <a:solidFill>
                  <a:schemeClr val="accent1">
                    <a:lumMod val="75000"/>
                  </a:schemeClr>
                </a:solidFill>
              </a:rPr>
              <a:t>Contato:</a:t>
            </a:r>
          </a:p>
          <a:p>
            <a:r>
              <a:rPr lang="pt-BR" dirty="0">
                <a:solidFill>
                  <a:schemeClr val="accent1">
                    <a:lumMod val="75000"/>
                  </a:schemeClr>
                </a:solidFill>
              </a:rPr>
              <a:t>j</a:t>
            </a:r>
            <a: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  <a:t>oyce.lomar@mrs.com.br</a:t>
            </a:r>
          </a:p>
          <a:p>
            <a: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  <a:t>leticia.cabral@mrs.com.br</a:t>
            </a:r>
          </a:p>
        </p:txBody>
      </p:sp>
    </p:spTree>
    <p:extLst>
      <p:ext uri="{BB962C8B-B14F-4D97-AF65-F5344CB8AC3E}">
        <p14:creationId xmlns:p14="http://schemas.microsoft.com/office/powerpoint/2010/main" val="2213399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tângulo 33"/>
          <p:cNvSpPr/>
          <p:nvPr/>
        </p:nvSpPr>
        <p:spPr>
          <a:xfrm>
            <a:off x="827584" y="1381244"/>
            <a:ext cx="7704856" cy="856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endParaRPr lang="pt-BR" sz="300" b="1" dirty="0" smtClean="0">
              <a:solidFill>
                <a:srgbClr val="000000"/>
              </a:solidFill>
              <a:latin typeface="Trebuchet MS"/>
              <a:cs typeface="Arial" pitchFamily="34" charset="0"/>
            </a:endParaRPr>
          </a:p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endParaRPr lang="pt-BR" sz="300" b="1" dirty="0">
              <a:solidFill>
                <a:srgbClr val="000000"/>
              </a:solidFill>
              <a:latin typeface="Trebuchet MS"/>
              <a:cs typeface="Arial" pitchFamily="34" charset="0"/>
            </a:endParaRPr>
          </a:p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endParaRPr lang="pt-BR" sz="300" b="1" dirty="0" smtClean="0">
              <a:solidFill>
                <a:srgbClr val="000000"/>
              </a:solidFill>
              <a:latin typeface="Trebuchet MS"/>
              <a:cs typeface="Arial" pitchFamily="34" charset="0"/>
            </a:endParaRPr>
          </a:p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endParaRPr lang="pt-BR" sz="300" b="1" dirty="0">
              <a:solidFill>
                <a:srgbClr val="000000"/>
              </a:solidFill>
              <a:latin typeface="Trebuchet MS"/>
              <a:cs typeface="Arial" pitchFamily="34" charset="0"/>
            </a:endParaRPr>
          </a:p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endParaRPr lang="pt-BR" sz="300" b="1" dirty="0" smtClean="0">
              <a:solidFill>
                <a:srgbClr val="000000"/>
              </a:solidFill>
              <a:latin typeface="Trebuchet MS"/>
              <a:cs typeface="Arial" pitchFamily="34" charset="0"/>
            </a:endParaRPr>
          </a:p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endParaRPr lang="pt-BR" sz="300" b="1" dirty="0">
              <a:solidFill>
                <a:srgbClr val="000000"/>
              </a:solidFill>
              <a:latin typeface="Trebuchet MS"/>
              <a:cs typeface="Arial" pitchFamily="34" charset="0"/>
            </a:endParaRPr>
          </a:p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endParaRPr lang="pt-BR" sz="300" b="1" dirty="0" smtClean="0">
              <a:solidFill>
                <a:srgbClr val="000000"/>
              </a:solidFill>
              <a:latin typeface="Trebuchet MS"/>
              <a:cs typeface="Arial" pitchFamily="34" charset="0"/>
            </a:endParaRPr>
          </a:p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endParaRPr lang="pt-BR" sz="300" b="1" dirty="0">
              <a:solidFill>
                <a:srgbClr val="000000"/>
              </a:solidFill>
              <a:latin typeface="Trebuchet MS"/>
              <a:cs typeface="Arial" pitchFamily="34" charset="0"/>
            </a:endParaRPr>
          </a:p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endParaRPr lang="pt-BR" sz="300" b="1" dirty="0" smtClean="0">
              <a:solidFill>
                <a:srgbClr val="000000"/>
              </a:solidFill>
              <a:latin typeface="Trebuchet MS"/>
              <a:cs typeface="Arial" pitchFamily="34" charset="0"/>
            </a:endParaRPr>
          </a:p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endParaRPr lang="pt-BR" sz="300" b="1" dirty="0">
              <a:solidFill>
                <a:srgbClr val="000000"/>
              </a:solidFill>
              <a:latin typeface="Trebuchet MS"/>
              <a:cs typeface="Arial" pitchFamily="34" charset="0"/>
            </a:endParaRPr>
          </a:p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endParaRPr lang="pt-BR" sz="300" b="1" dirty="0" smtClean="0">
              <a:solidFill>
                <a:srgbClr val="000000"/>
              </a:solidFill>
              <a:latin typeface="Trebuchet MS"/>
              <a:cs typeface="Arial" pitchFamily="34" charset="0"/>
            </a:endParaRPr>
          </a:p>
        </p:txBody>
      </p:sp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6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ângulo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dirty="0">
              <a:latin typeface="Calibri"/>
              <a:sym typeface="Calibri"/>
            </a:endParaRPr>
          </a:p>
        </p:txBody>
      </p:sp>
      <p:sp>
        <p:nvSpPr>
          <p:cNvPr id="13" name="Retângulo de cantos arredondados 12"/>
          <p:cNvSpPr/>
          <p:nvPr/>
        </p:nvSpPr>
        <p:spPr>
          <a:xfrm>
            <a:off x="971600" y="764704"/>
            <a:ext cx="7272808" cy="576064"/>
          </a:xfrm>
          <a:prstGeom prst="roundRect">
            <a:avLst/>
          </a:prstGeom>
          <a:ln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tx1"/>
                </a:solidFill>
              </a:rPr>
              <a:t>Viabilidade Financeira: Venda de Créditos de Carbono</a:t>
            </a:r>
            <a:endParaRPr lang="pt-BR" sz="2000" b="1" dirty="0">
              <a:solidFill>
                <a:schemeClr val="tx1"/>
              </a:solidFill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187216" y="1501789"/>
            <a:ext cx="170784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3838" lvl="1" indent="-149225" algn="just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r>
              <a:rPr lang="pt-BR" sz="1400" b="1" u="sng" dirty="0">
                <a:solidFill>
                  <a:srgbClr val="000000"/>
                </a:solidFill>
                <a:latin typeface="Trebuchet MS"/>
                <a:cs typeface="Arial" pitchFamily="34" charset="0"/>
              </a:rPr>
              <a:t>Contextualização</a:t>
            </a:r>
          </a:p>
        </p:txBody>
      </p:sp>
      <p:sp>
        <p:nvSpPr>
          <p:cNvPr id="7" name="Retângulo 6"/>
          <p:cNvSpPr/>
          <p:nvPr/>
        </p:nvSpPr>
        <p:spPr>
          <a:xfrm>
            <a:off x="1187216" y="3119111"/>
            <a:ext cx="177035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3838" lvl="1" indent="-149225" defTabSz="895350">
              <a:spcBef>
                <a:spcPts val="200"/>
              </a:spcBef>
              <a:buSzPct val="65000"/>
              <a:tabLst>
                <a:tab pos="179388" algn="l"/>
              </a:tabLst>
              <a:defRPr/>
            </a:pPr>
            <a:r>
              <a:rPr lang="pt-BR" sz="1400" b="1" u="sng" dirty="0">
                <a:solidFill>
                  <a:srgbClr val="000000"/>
                </a:solidFill>
                <a:latin typeface="Trebuchet MS"/>
                <a:cs typeface="Arial" pitchFamily="34" charset="0"/>
              </a:rPr>
              <a:t>Objetivo principal</a:t>
            </a:r>
          </a:p>
        </p:txBody>
      </p:sp>
      <p:sp>
        <p:nvSpPr>
          <p:cNvPr id="8" name="Retângulo 7"/>
          <p:cNvSpPr/>
          <p:nvPr/>
        </p:nvSpPr>
        <p:spPr>
          <a:xfrm>
            <a:off x="1331640" y="4911550"/>
            <a:ext cx="8919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3838" lvl="1" indent="-149225" defTabSz="895350">
              <a:spcBef>
                <a:spcPts val="200"/>
              </a:spcBef>
              <a:buSzPct val="65000"/>
              <a:tabLst>
                <a:tab pos="0" algn="l"/>
              </a:tabLst>
              <a:defRPr/>
            </a:pPr>
            <a:r>
              <a:rPr lang="pt-BR" sz="1400" b="1" u="sng" dirty="0">
                <a:solidFill>
                  <a:srgbClr val="000000"/>
                </a:solidFill>
                <a:latin typeface="Trebuchet MS"/>
                <a:cs typeface="Arial" pitchFamily="34" charset="0"/>
              </a:rPr>
              <a:t>Escopo</a:t>
            </a:r>
            <a:r>
              <a:rPr lang="pt-BR" sz="1400" b="1" dirty="0">
                <a:solidFill>
                  <a:srgbClr val="000000"/>
                </a:solidFill>
                <a:latin typeface="Trebuchet MS"/>
                <a:cs typeface="Arial" pitchFamily="34" charset="0"/>
              </a:rPr>
              <a:t> 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21" y="1772018"/>
            <a:ext cx="871936" cy="6000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5" name="Imagem 5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21" y="3272999"/>
            <a:ext cx="871936" cy="6000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6" name="Imagem 5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70" y="5066304"/>
            <a:ext cx="871936" cy="6000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0" name="CaixaDeTexto 9"/>
          <p:cNvSpPr txBox="1"/>
          <p:nvPr/>
        </p:nvSpPr>
        <p:spPr>
          <a:xfrm>
            <a:off x="1295636" y="1815055"/>
            <a:ext cx="676875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/>
              <a:t>&gt; Oportunidade interna de economia de diesel.</a:t>
            </a:r>
            <a:endParaRPr lang="pt-BR" sz="1400" dirty="0" smtClean="0">
              <a:solidFill>
                <a:srgbClr val="FF0000"/>
              </a:solidFill>
            </a:endParaRPr>
          </a:p>
          <a:p>
            <a:r>
              <a:rPr lang="pt-BR" sz="1400" dirty="0" smtClean="0"/>
              <a:t>&gt; Emissão de compostos de carbono na atmosfera através da combustão de diesel.</a:t>
            </a:r>
          </a:p>
          <a:p>
            <a:r>
              <a:rPr lang="pt-BR" sz="1400" dirty="0" smtClean="0"/>
              <a:t>&gt; Aspectos ESG (</a:t>
            </a:r>
            <a:r>
              <a:rPr lang="pt-BR" sz="1400" i="1" dirty="0" err="1" smtClean="0"/>
              <a:t>Enviromental</a:t>
            </a:r>
            <a:r>
              <a:rPr lang="pt-BR" sz="1400" i="1" dirty="0" smtClean="0"/>
              <a:t> Social </a:t>
            </a:r>
            <a:r>
              <a:rPr lang="pt-BR" sz="1400" i="1" dirty="0" err="1" smtClean="0"/>
              <a:t>Governance</a:t>
            </a:r>
            <a:r>
              <a:rPr lang="pt-BR" sz="1400" dirty="0" smtClean="0"/>
              <a:t>).</a:t>
            </a:r>
          </a:p>
          <a:p>
            <a:endParaRPr lang="pt-BR" sz="1400" dirty="0" smtClean="0"/>
          </a:p>
          <a:p>
            <a:r>
              <a:rPr lang="pt-BR" sz="1400" dirty="0" smtClean="0"/>
              <a:t>  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1277634" y="3501008"/>
            <a:ext cx="725480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/>
              <a:t>&gt; Estudo da </a:t>
            </a:r>
            <a:r>
              <a:rPr lang="pt-BR" sz="1400" dirty="0"/>
              <a:t>viabilidade financeira através da venda de créditos de </a:t>
            </a:r>
            <a:r>
              <a:rPr lang="pt-BR" sz="1400" dirty="0" smtClean="0"/>
              <a:t>carbono, como oportunidade de receita alternativa. </a:t>
            </a:r>
          </a:p>
          <a:p>
            <a:r>
              <a:rPr lang="pt-BR" sz="1400" dirty="0" smtClean="0"/>
              <a:t>&gt; Viabilidade financeira da certificação da Companhia no âmbito MDL.</a:t>
            </a:r>
          </a:p>
          <a:p>
            <a:r>
              <a:rPr lang="pt-BR" sz="1400" dirty="0" smtClean="0"/>
              <a:t>&gt; Estudo do Mercado.</a:t>
            </a:r>
          </a:p>
          <a:p>
            <a:endParaRPr lang="pt-BR" sz="1400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1302350" y="5230689"/>
            <a:ext cx="633796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/>
              <a:t>&gt; Estudo das etapas necessárias para a implementação de Projetos MDL no Brasil</a:t>
            </a:r>
            <a:r>
              <a:rPr lang="pt-BR" dirty="0" smtClean="0"/>
              <a:t>.</a:t>
            </a:r>
          </a:p>
          <a:p>
            <a:r>
              <a:rPr lang="pt-BR" sz="1400" dirty="0" smtClean="0"/>
              <a:t>&gt; Entendimento do Mercado de carbono.</a:t>
            </a:r>
          </a:p>
          <a:p>
            <a:r>
              <a:rPr lang="pt-BR" sz="1400" dirty="0" smtClean="0"/>
              <a:t>&gt; Contato consultorias.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2496194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3</a:t>
            </a:fld>
            <a:r>
              <a:rPr lang="pt-BR" smtClean="0"/>
              <a:t> </a:t>
            </a:r>
            <a:endParaRPr lang="pt-BR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804662"/>
            <a:ext cx="3816424" cy="5717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07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6776" y="2296994"/>
            <a:ext cx="4485417" cy="2212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02089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0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807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807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4</a:t>
            </a:fld>
            <a:r>
              <a:rPr lang="pt-BR" smtClean="0"/>
              <a:t> </a:t>
            </a:r>
            <a:endParaRPr lang="pt-BR" dirty="0"/>
          </a:p>
        </p:txBody>
      </p:sp>
      <p:sp>
        <p:nvSpPr>
          <p:cNvPr id="22" name="Retângulo de cantos arredondados 21"/>
          <p:cNvSpPr/>
          <p:nvPr/>
        </p:nvSpPr>
        <p:spPr>
          <a:xfrm>
            <a:off x="1619672" y="794399"/>
            <a:ext cx="4968552" cy="576064"/>
          </a:xfrm>
          <a:prstGeom prst="roundRect">
            <a:avLst/>
          </a:prstGeom>
          <a:ln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2000" b="1" i="1" dirty="0" err="1">
                <a:solidFill>
                  <a:schemeClr val="tx1"/>
                </a:solidFill>
              </a:rPr>
              <a:t>Stakeholders</a:t>
            </a:r>
            <a:r>
              <a:rPr lang="pt-BR" sz="2800" dirty="0" smtClean="0">
                <a:solidFill>
                  <a:schemeClr val="tx1"/>
                </a:solidFill>
              </a:rPr>
              <a:t> </a:t>
            </a:r>
            <a:r>
              <a:rPr lang="pt-BR" sz="2000" b="1" dirty="0">
                <a:solidFill>
                  <a:schemeClr val="tx1"/>
                </a:solidFill>
              </a:rPr>
              <a:t>e</a:t>
            </a:r>
            <a:r>
              <a:rPr lang="pt-BR" sz="2000" b="1" dirty="0" smtClean="0">
                <a:solidFill>
                  <a:schemeClr val="tx1"/>
                </a:solidFill>
              </a:rPr>
              <a:t>nvolvidos</a:t>
            </a:r>
            <a:endParaRPr lang="pt-BR" sz="2000" b="1" dirty="0">
              <a:solidFill>
                <a:schemeClr val="tx1"/>
              </a:solidFill>
            </a:endParaRPr>
          </a:p>
        </p:txBody>
      </p:sp>
      <p:graphicFrame>
        <p:nvGraphicFramePr>
          <p:cNvPr id="75" name="Diagrama 74"/>
          <p:cNvGraphicFramePr/>
          <p:nvPr>
            <p:extLst>
              <p:ext uri="{D42A27DB-BD31-4B8C-83A1-F6EECF244321}">
                <p14:modId xmlns:p14="http://schemas.microsoft.com/office/powerpoint/2010/main" val="2120010397"/>
              </p:ext>
            </p:extLst>
          </p:nvPr>
        </p:nvGraphicFramePr>
        <p:xfrm>
          <a:off x="179512" y="1844824"/>
          <a:ext cx="4248472" cy="4320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7" name="CaixaDeTexto 76"/>
          <p:cNvSpPr txBox="1"/>
          <p:nvPr/>
        </p:nvSpPr>
        <p:spPr>
          <a:xfrm>
            <a:off x="1728899" y="3957642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/>
              <a:t>EXTERNOS</a:t>
            </a:r>
            <a:endParaRPr lang="pt-BR" b="1" dirty="0"/>
          </a:p>
        </p:txBody>
      </p:sp>
      <p:sp>
        <p:nvSpPr>
          <p:cNvPr id="78" name="CaixaDeTexto 77"/>
          <p:cNvSpPr txBox="1"/>
          <p:nvPr/>
        </p:nvSpPr>
        <p:spPr>
          <a:xfrm>
            <a:off x="723364" y="5301208"/>
            <a:ext cx="194421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pt-BR" sz="1350" b="1" dirty="0" smtClean="0"/>
              <a:t>INVESTIDORES</a:t>
            </a:r>
            <a:endParaRPr lang="pt-BR" sz="1350" b="1" dirty="0"/>
          </a:p>
        </p:txBody>
      </p:sp>
      <p:sp>
        <p:nvSpPr>
          <p:cNvPr id="79" name="CaixaDeTexto 78"/>
          <p:cNvSpPr txBox="1"/>
          <p:nvPr/>
        </p:nvSpPr>
        <p:spPr>
          <a:xfrm>
            <a:off x="179512" y="3410544"/>
            <a:ext cx="17982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/>
              <a:t>INSTITUIÇÕES FINANCEIRAS</a:t>
            </a:r>
            <a:endParaRPr lang="pt-BR" sz="1400" b="1" dirty="0"/>
          </a:p>
        </p:txBody>
      </p:sp>
      <p:sp>
        <p:nvSpPr>
          <p:cNvPr id="80" name="CaixaDeTexto 79"/>
          <p:cNvSpPr txBox="1"/>
          <p:nvPr/>
        </p:nvSpPr>
        <p:spPr>
          <a:xfrm>
            <a:off x="1907704" y="2276872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81" name="CaixaDeTexto 80"/>
          <p:cNvSpPr txBox="1"/>
          <p:nvPr/>
        </p:nvSpPr>
        <p:spPr>
          <a:xfrm>
            <a:off x="3361535" y="3518265"/>
            <a:ext cx="118776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b="1" dirty="0" smtClean="0"/>
              <a:t>GOVERNO</a:t>
            </a:r>
            <a:endParaRPr lang="pt-BR" sz="1500" b="1" dirty="0"/>
          </a:p>
        </p:txBody>
      </p:sp>
      <p:sp>
        <p:nvSpPr>
          <p:cNvPr id="82" name="CaixaDeTexto 81"/>
          <p:cNvSpPr txBox="1"/>
          <p:nvPr/>
        </p:nvSpPr>
        <p:spPr>
          <a:xfrm>
            <a:off x="1735166" y="2253904"/>
            <a:ext cx="176135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pt-BR" sz="1400" b="1" dirty="0" smtClean="0"/>
              <a:t>    ÓRGÃOS  AMBIENTAIS</a:t>
            </a:r>
            <a:endParaRPr lang="pt-BR" sz="1400" b="1" dirty="0"/>
          </a:p>
        </p:txBody>
      </p:sp>
      <p:sp>
        <p:nvSpPr>
          <p:cNvPr id="83" name="CaixaDeTexto 82"/>
          <p:cNvSpPr txBox="1"/>
          <p:nvPr/>
        </p:nvSpPr>
        <p:spPr>
          <a:xfrm>
            <a:off x="2585634" y="5291936"/>
            <a:ext cx="1800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50" b="1" dirty="0" smtClean="0"/>
              <a:t> </a:t>
            </a:r>
            <a:r>
              <a:rPr lang="pt-BR" sz="1300" b="1" dirty="0" smtClean="0"/>
              <a:t>COMUNICAÇÃO</a:t>
            </a:r>
            <a:endParaRPr lang="pt-BR" sz="1300" b="1" dirty="0"/>
          </a:p>
        </p:txBody>
      </p:sp>
      <p:graphicFrame>
        <p:nvGraphicFramePr>
          <p:cNvPr id="85" name="Group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951775"/>
              </p:ext>
            </p:extLst>
          </p:nvPr>
        </p:nvGraphicFramePr>
        <p:xfrm>
          <a:off x="4860032" y="1719415"/>
          <a:ext cx="4104456" cy="4277986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4104456"/>
              </a:tblGrid>
              <a:tr h="360040"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Principais Resultados</a:t>
                      </a:r>
                      <a:endParaRPr kumimoji="0" lang="pt-BR" sz="16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137" marB="9137" anchor="ctr" horzOverflow="overflow"/>
                </a:tc>
              </a:tr>
              <a:tr h="776798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3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stituições Financeiras</a:t>
                      </a:r>
                      <a:r>
                        <a:rPr kumimoji="0" lang="pt-BR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 credibilidade da companhia no Mercado Nacional e Internacional. (por exemplo, aumento de </a:t>
                      </a:r>
                      <a:r>
                        <a:rPr kumimoji="0" lang="pt-BR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ating</a:t>
                      </a:r>
                      <a:r>
                        <a:rPr kumimoji="0" lang="pt-BR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. </a:t>
                      </a:r>
                      <a:endParaRPr kumimoji="0" lang="pt-BR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8993" marR="98993" marT="9137" marB="9137" anchor="ctr" horzOverflow="overflow"/>
                </a:tc>
              </a:tr>
              <a:tr h="776798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3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Órgãos Ambientais</a:t>
                      </a:r>
                      <a:r>
                        <a:rPr kumimoji="0" lang="pt-BR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 maior responsabilidade ambiental, frente às transformações climáticas e seus efeitos.</a:t>
                      </a:r>
                    </a:p>
                  </a:txBody>
                  <a:tcPr marL="98993" marR="98993" marT="9137" marB="9137" anchor="ctr" horzOverflow="overflow"/>
                </a:tc>
              </a:tr>
              <a:tr h="776798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3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overno</a:t>
                      </a:r>
                      <a:r>
                        <a:rPr kumimoji="0" lang="pt-B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 </a:t>
                      </a:r>
                      <a:r>
                        <a:rPr kumimoji="0" lang="pt-BR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anho de imagem frente ao Ministério da Ciência, Tecnologia, Inovação e Comunicação (MCTIC).</a:t>
                      </a:r>
                      <a:endParaRPr kumimoji="0" lang="pt-BR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8993" marR="98993" marT="9137" marB="9137" anchor="ctr" horzOverflow="overflow"/>
                </a:tc>
              </a:tr>
              <a:tr h="776798"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300" b="1" i="0" u="sng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unicação</a:t>
                      </a:r>
                      <a:r>
                        <a:rPr kumimoji="0" lang="pt-BR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: </a:t>
                      </a:r>
                      <a:r>
                        <a:rPr kumimoji="0" lang="pt-BR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tilizar do “</a:t>
                      </a:r>
                      <a:r>
                        <a:rPr kumimoji="0" lang="pt-BR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rketing verde</a:t>
                      </a:r>
                      <a:r>
                        <a:rPr kumimoji="0" lang="pt-BR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” como prospecção de novos clientes, captação de recursos, atração de acionistas e aumento da competitividade da empresa no mercado.</a:t>
                      </a:r>
                      <a:endParaRPr kumimoji="0" lang="pt-BR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8993" marR="98993" marT="9137" marB="9137" anchor="ctr" horzOverflow="overflow"/>
                </a:tc>
              </a:tr>
              <a:tr h="776798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300" b="1" i="0" u="sng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estidores</a:t>
                      </a:r>
                      <a:r>
                        <a:rPr kumimoji="0" lang="pt-B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 </a:t>
                      </a: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dos “</a:t>
                      </a:r>
                      <a:r>
                        <a:rPr kumimoji="0" lang="pt-BR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SG”</a:t>
                      </a: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utilizados como possíveis parâmetros para potencializar investimentos futuros.</a:t>
                      </a:r>
                      <a:endParaRPr kumimoji="0" lang="pt-BR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8993" marR="98993" marT="9137" marB="9137" anchor="ctr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540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5</a:t>
            </a:fld>
            <a:r>
              <a:rPr lang="pt-BR" smtClean="0"/>
              <a:t> </a:t>
            </a:r>
            <a:endParaRPr lang="pt-BR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09695408"/>
              </p:ext>
            </p:extLst>
          </p:nvPr>
        </p:nvGraphicFramePr>
        <p:xfrm>
          <a:off x="179512" y="1844824"/>
          <a:ext cx="4248472" cy="4320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tângulo de cantos arredondados 3"/>
          <p:cNvSpPr/>
          <p:nvPr/>
        </p:nvSpPr>
        <p:spPr>
          <a:xfrm>
            <a:off x="1619672" y="794399"/>
            <a:ext cx="4968552" cy="576064"/>
          </a:xfrm>
          <a:prstGeom prst="roundRect">
            <a:avLst/>
          </a:prstGeom>
          <a:ln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2000" b="1" i="1" dirty="0" err="1">
                <a:solidFill>
                  <a:schemeClr val="tx1"/>
                </a:solidFill>
              </a:rPr>
              <a:t>Stakeholders</a:t>
            </a:r>
            <a:r>
              <a:rPr lang="pt-BR" sz="2800" dirty="0" smtClean="0">
                <a:solidFill>
                  <a:schemeClr val="tx1"/>
                </a:solidFill>
              </a:rPr>
              <a:t> </a:t>
            </a:r>
            <a:r>
              <a:rPr lang="pt-BR" sz="2000" b="1" dirty="0">
                <a:solidFill>
                  <a:schemeClr val="tx1"/>
                </a:solidFill>
              </a:rPr>
              <a:t>e</a:t>
            </a:r>
            <a:r>
              <a:rPr lang="pt-BR" sz="2000" b="1" dirty="0" smtClean="0">
                <a:solidFill>
                  <a:schemeClr val="tx1"/>
                </a:solidFill>
              </a:rPr>
              <a:t>nvolvidos</a:t>
            </a:r>
            <a:endParaRPr lang="pt-BR" sz="2000" b="1" dirty="0">
              <a:solidFill>
                <a:schemeClr val="tx1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763688" y="3965594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/>
              <a:t>INTERNOS</a:t>
            </a:r>
            <a:endParaRPr lang="pt-BR" b="1" dirty="0"/>
          </a:p>
        </p:txBody>
      </p:sp>
      <p:sp>
        <p:nvSpPr>
          <p:cNvPr id="6" name="CaixaDeTexto 5"/>
          <p:cNvSpPr txBox="1"/>
          <p:nvPr/>
        </p:nvSpPr>
        <p:spPr>
          <a:xfrm>
            <a:off x="3288985" y="3429000"/>
            <a:ext cx="12061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COMERCIAL</a:t>
            </a:r>
            <a:endParaRPr lang="pt-BR" sz="1600" b="1" dirty="0"/>
          </a:p>
        </p:txBody>
      </p:sp>
      <p:sp>
        <p:nvSpPr>
          <p:cNvPr id="8" name="CaixaDeTexto 7"/>
          <p:cNvSpPr txBox="1"/>
          <p:nvPr/>
        </p:nvSpPr>
        <p:spPr>
          <a:xfrm>
            <a:off x="1673678" y="2358433"/>
            <a:ext cx="154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FINANCEIRO</a:t>
            </a:r>
            <a:endParaRPr lang="pt-BR" sz="1600" b="1" dirty="0"/>
          </a:p>
        </p:txBody>
      </p:sp>
      <p:sp>
        <p:nvSpPr>
          <p:cNvPr id="9" name="CaixaDeTexto 8"/>
          <p:cNvSpPr txBox="1"/>
          <p:nvPr/>
        </p:nvSpPr>
        <p:spPr>
          <a:xfrm>
            <a:off x="251520" y="3228945"/>
            <a:ext cx="12961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 </a:t>
            </a:r>
            <a:r>
              <a:rPr lang="pt-BR" sz="1200" b="1" dirty="0" smtClean="0"/>
              <a:t>ENGENHARIA</a:t>
            </a:r>
          </a:p>
          <a:p>
            <a:r>
              <a:rPr lang="pt-BR" sz="1200" b="1" dirty="0"/>
              <a:t> </a:t>
            </a:r>
            <a:r>
              <a:rPr lang="pt-BR" sz="1200" b="1" dirty="0" smtClean="0"/>
              <a:t>        de                     TRANSPORTES</a:t>
            </a:r>
            <a:endParaRPr lang="pt-BR" sz="1200" b="1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15071" y="5100571"/>
            <a:ext cx="1917213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00" dirty="0" smtClean="0"/>
              <a:t>    </a:t>
            </a:r>
            <a:r>
              <a:rPr lang="pt-BR" sz="1200" b="1" dirty="0" smtClean="0"/>
              <a:t>SEGURANÇA</a:t>
            </a:r>
          </a:p>
          <a:p>
            <a:r>
              <a:rPr lang="pt-BR" sz="1200" b="1" dirty="0"/>
              <a:t> </a:t>
            </a:r>
            <a:r>
              <a:rPr lang="pt-BR" sz="1200" b="1" dirty="0" smtClean="0"/>
              <a:t>            e</a:t>
            </a:r>
          </a:p>
          <a:p>
            <a:r>
              <a:rPr lang="pt-BR" sz="1200" b="1" dirty="0" smtClean="0"/>
              <a:t> MEIO AMBIENTE</a:t>
            </a:r>
            <a:endParaRPr lang="pt-BR" sz="1200" b="1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2632284" y="5285237"/>
            <a:ext cx="142959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00" b="1" dirty="0" smtClean="0"/>
              <a:t>COMUNICAÇÃO</a:t>
            </a:r>
            <a:endParaRPr lang="pt-BR" sz="1300" b="1" dirty="0"/>
          </a:p>
        </p:txBody>
      </p:sp>
      <p:graphicFrame>
        <p:nvGraphicFramePr>
          <p:cNvPr id="12" name="Group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882221"/>
              </p:ext>
            </p:extLst>
          </p:nvPr>
        </p:nvGraphicFramePr>
        <p:xfrm>
          <a:off x="4860032" y="1719415"/>
          <a:ext cx="4104456" cy="4277986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4104456"/>
              </a:tblGrid>
              <a:tr h="360040"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Principais Resultados</a:t>
                      </a:r>
                      <a:endParaRPr kumimoji="0" lang="pt-BR" sz="16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137" marB="9137" anchor="ctr" horzOverflow="overflow"/>
                </a:tc>
              </a:tr>
              <a:tr h="776798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3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inanceiro</a:t>
                      </a:r>
                      <a:r>
                        <a:rPr kumimoji="0" lang="pt-BR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 com a possível comercialização de créditos de carbono, há uma maior credibilidade na imagem da companhia frente à investidores e bancos.</a:t>
                      </a:r>
                      <a:endParaRPr kumimoji="0" lang="pt-BR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8993" marR="98993" marT="9137" marB="9137" anchor="ctr" horzOverflow="overflow"/>
                </a:tc>
              </a:tr>
              <a:tr h="776798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3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g. De Transportes</a:t>
                      </a:r>
                      <a:r>
                        <a:rPr kumimoji="0" lang="pt-BR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 política de redução de custos, aliada com a eficiência energética, valoração ambiental da economia de diesel.</a:t>
                      </a:r>
                      <a:endParaRPr kumimoji="0" lang="pt-BR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8993" marR="98993" marT="9137" marB="9137" anchor="ctr" horzOverflow="overflow"/>
                </a:tc>
              </a:tr>
              <a:tr h="776798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3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gurança e Meio Ambiente</a:t>
                      </a:r>
                      <a:r>
                        <a:rPr kumimoji="0" lang="pt-B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 </a:t>
                      </a:r>
                      <a:r>
                        <a:rPr kumimoji="0" lang="pt-BR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bjetivos principais da companhia, se enquadrar dentro de aspectos “ESG”.</a:t>
                      </a:r>
                      <a:endParaRPr kumimoji="0" lang="pt-BR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8993" marR="98993" marT="9137" marB="9137" anchor="ctr" horzOverflow="overflow"/>
                </a:tc>
              </a:tr>
              <a:tr h="776798">
                <a:tc>
                  <a:txBody>
                    <a:bodyPr/>
                    <a:lstStyle>
                      <a:defPPr>
                        <a:defRPr lang="pt-BR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300" b="1" i="0" u="sng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unicação</a:t>
                      </a:r>
                      <a:r>
                        <a:rPr kumimoji="0" lang="pt-BR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: </a:t>
                      </a:r>
                      <a:r>
                        <a:rPr kumimoji="0" lang="pt-BR" sz="1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tilização do “marketing verde” como prospecção de novos clientes e possíveis ações publicitárias.</a:t>
                      </a:r>
                    </a:p>
                  </a:txBody>
                  <a:tcPr marL="98993" marR="98993" marT="9137" marB="9137" anchor="ctr" horzOverflow="overflow"/>
                </a:tc>
              </a:tr>
              <a:tr h="776798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300" b="1" i="0" u="sng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ercial</a:t>
                      </a:r>
                      <a:r>
                        <a:rPr kumimoji="0" lang="pt-B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 </a:t>
                      </a:r>
                      <a:r>
                        <a:rPr kumimoji="0" lang="pt-BR" sz="1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nho de imagem frente à  prospecção de novos clientes, valorizando critérios de negociações</a:t>
                      </a:r>
                      <a:r>
                        <a:rPr lang="pt-BR" sz="1200" dirty="0" smtClean="0"/>
                        <a:t>. </a:t>
                      </a:r>
                      <a:endParaRPr kumimoji="0" lang="pt-BR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8993" marR="98993" marT="9137" marB="9137" anchor="ctr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040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6</a:t>
            </a:fld>
            <a:r>
              <a:rPr lang="pt-BR" smtClean="0"/>
              <a:t> </a:t>
            </a:r>
            <a:endParaRPr lang="pt-BR" dirty="0"/>
          </a:p>
        </p:txBody>
      </p:sp>
      <p:pic>
        <p:nvPicPr>
          <p:cNvPr id="147968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4270" y="836712"/>
            <a:ext cx="4585713" cy="4896544"/>
          </a:xfrm>
          <a:prstGeom prst="rect">
            <a:avLst/>
          </a:prstGeom>
          <a:noFill/>
          <a:ln w="28575">
            <a:solidFill>
              <a:srgbClr val="0070C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CaixaDeTexto 2"/>
          <p:cNvSpPr txBox="1"/>
          <p:nvPr/>
        </p:nvSpPr>
        <p:spPr>
          <a:xfrm>
            <a:off x="323528" y="1376769"/>
            <a:ext cx="3888432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dirty="0" smtClean="0"/>
              <a:t>   </a:t>
            </a:r>
            <a:r>
              <a:rPr lang="pt-BR" sz="1400" dirty="0" smtClean="0"/>
              <a:t>Apesar </a:t>
            </a:r>
            <a:r>
              <a:rPr lang="pt-BR" sz="1400" dirty="0"/>
              <a:t>da pequena variação de </a:t>
            </a:r>
            <a:r>
              <a:rPr lang="pt-BR" sz="1400" b="1" dirty="0"/>
              <a:t>1,6%</a:t>
            </a:r>
            <a:r>
              <a:rPr lang="pt-BR" sz="1400" dirty="0"/>
              <a:t> no consumo de combustíveis, o resultado segue dentro do cenário estimado pela Companhia, considerando o ano singular de </a:t>
            </a:r>
            <a:r>
              <a:rPr lang="pt-BR" sz="1400" dirty="0" smtClean="0"/>
              <a:t>2019 (Brumadinho).</a:t>
            </a:r>
          </a:p>
          <a:p>
            <a:pPr algn="just"/>
            <a:r>
              <a:rPr lang="pt-BR" sz="1400" dirty="0" smtClean="0"/>
              <a:t>    A </a:t>
            </a:r>
            <a:r>
              <a:rPr lang="pt-BR" sz="1400" dirty="0"/>
              <a:t>MRS mantém o foco na melhor gestão dos custos e produção, que vão desde a utilização de locomotivas mais eficientes até o emprego de melhorias operacionais e tecnologias, como o </a:t>
            </a:r>
            <a:r>
              <a:rPr lang="pt-BR" sz="1400" i="1" dirty="0"/>
              <a:t>AESS (</a:t>
            </a:r>
            <a:r>
              <a:rPr lang="pt-BR" sz="1400" i="1" dirty="0" err="1"/>
              <a:t>Automatic</a:t>
            </a:r>
            <a:r>
              <a:rPr lang="pt-BR" sz="1400" i="1" dirty="0"/>
              <a:t> </a:t>
            </a:r>
            <a:r>
              <a:rPr lang="pt-BR" sz="1400" i="1" dirty="0" err="1"/>
              <a:t>Engine</a:t>
            </a:r>
            <a:r>
              <a:rPr lang="pt-BR" sz="1400" i="1" dirty="0"/>
              <a:t> Start Stop), </a:t>
            </a:r>
            <a:r>
              <a:rPr lang="pt-BR" sz="1400" dirty="0"/>
              <a:t>que comanda automaticamente a partida e a parada do motor diesel. </a:t>
            </a:r>
            <a:endParaRPr lang="pt-BR" sz="1400" dirty="0" smtClean="0"/>
          </a:p>
          <a:p>
            <a:pPr algn="just"/>
            <a:r>
              <a:rPr lang="pt-BR" sz="1400" dirty="0"/>
              <a:t> </a:t>
            </a:r>
            <a:r>
              <a:rPr lang="pt-BR" sz="1400" dirty="0" smtClean="0"/>
              <a:t>   Além </a:t>
            </a:r>
            <a:r>
              <a:rPr lang="pt-BR" sz="1400" dirty="0"/>
              <a:t>disso, o aumento do comprimento e peso dos trens de Carga Geral permitiu um melhor aproveitamento das locomotivas mais eficientes (modelo AC-44), que trouxe ganhos relevantes de eficiência para esse grupo.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6859457" y="5763358"/>
            <a:ext cx="21133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b="1" dirty="0" smtClean="0"/>
              <a:t>Referência: Relatório Anual MRS - 2019</a:t>
            </a:r>
            <a:endParaRPr lang="pt-BR" sz="900" b="1" dirty="0"/>
          </a:p>
        </p:txBody>
      </p:sp>
    </p:spTree>
    <p:extLst>
      <p:ext uri="{BB962C8B-B14F-4D97-AF65-F5344CB8AC3E}">
        <p14:creationId xmlns:p14="http://schemas.microsoft.com/office/powerpoint/2010/main" val="1401791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7</a:t>
            </a:fld>
            <a:r>
              <a:rPr lang="pt-BR" smtClean="0"/>
              <a:t> </a:t>
            </a:r>
            <a:endParaRPr lang="pt-BR" dirty="0"/>
          </a:p>
        </p:txBody>
      </p:sp>
      <p:pic>
        <p:nvPicPr>
          <p:cNvPr id="14807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124744"/>
            <a:ext cx="4248472" cy="4392488"/>
          </a:xfrm>
          <a:prstGeom prst="rect">
            <a:avLst/>
          </a:prstGeom>
          <a:noFill/>
          <a:ln w="28575">
            <a:solidFill>
              <a:srgbClr val="0070C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CaixaDeTexto 2"/>
          <p:cNvSpPr txBox="1"/>
          <p:nvPr/>
        </p:nvSpPr>
        <p:spPr>
          <a:xfrm>
            <a:off x="179512" y="1124744"/>
            <a:ext cx="442794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  </a:t>
            </a:r>
          </a:p>
          <a:p>
            <a:endParaRPr lang="pt-BR" dirty="0"/>
          </a:p>
          <a:p>
            <a:r>
              <a:rPr lang="pt-BR" dirty="0" smtClean="0"/>
              <a:t>   &gt; Em </a:t>
            </a:r>
            <a:r>
              <a:rPr lang="pt-BR" u="sng" dirty="0"/>
              <a:t>2018</a:t>
            </a:r>
            <a:r>
              <a:rPr lang="pt-BR" dirty="0"/>
              <a:t>, foram consumidos cerca de </a:t>
            </a:r>
            <a:r>
              <a:rPr lang="pt-BR" b="1" dirty="0"/>
              <a:t>241 </a:t>
            </a:r>
            <a:r>
              <a:rPr lang="pt-BR" dirty="0"/>
              <a:t>milhões de litros de diesel e emitidos </a:t>
            </a:r>
            <a:r>
              <a:rPr lang="pt-BR" b="1" dirty="0"/>
              <a:t>657</a:t>
            </a:r>
            <a:r>
              <a:rPr lang="pt-BR" dirty="0"/>
              <a:t> mil toneladas de </a:t>
            </a:r>
            <a:r>
              <a:rPr lang="pt-BR" b="1" dirty="0"/>
              <a:t>CO2</a:t>
            </a:r>
            <a:r>
              <a:rPr lang="pt-BR" dirty="0" smtClean="0"/>
              <a:t>.</a:t>
            </a:r>
          </a:p>
          <a:p>
            <a:endParaRPr lang="pt-BR" dirty="0" smtClean="0"/>
          </a:p>
          <a:p>
            <a:r>
              <a:rPr lang="pt-BR" dirty="0"/>
              <a:t> </a:t>
            </a:r>
            <a:r>
              <a:rPr lang="pt-BR" dirty="0" smtClean="0"/>
              <a:t>  &gt; Já </a:t>
            </a:r>
            <a:r>
              <a:rPr lang="pt-BR" dirty="0"/>
              <a:t>no ano de </a:t>
            </a:r>
            <a:r>
              <a:rPr lang="pt-BR" u="sng" dirty="0"/>
              <a:t>2019</a:t>
            </a:r>
            <a:r>
              <a:rPr lang="pt-BR" dirty="0"/>
              <a:t>, foram utilizados </a:t>
            </a:r>
            <a:r>
              <a:rPr lang="pt-BR" b="1" dirty="0"/>
              <a:t>190</a:t>
            </a:r>
            <a:r>
              <a:rPr lang="pt-BR" dirty="0"/>
              <a:t> milhões de litros de diesel e emitidos </a:t>
            </a:r>
            <a:r>
              <a:rPr lang="pt-BR" b="1" dirty="0"/>
              <a:t>519</a:t>
            </a:r>
            <a:r>
              <a:rPr lang="pt-BR" dirty="0"/>
              <a:t> mil toneladas de </a:t>
            </a:r>
            <a:r>
              <a:rPr lang="pt-BR" b="1" dirty="0"/>
              <a:t>CO2</a:t>
            </a:r>
            <a:r>
              <a:rPr lang="pt-BR" dirty="0"/>
              <a:t>. </a:t>
            </a:r>
            <a:endParaRPr lang="pt-BR" dirty="0" smtClean="0"/>
          </a:p>
          <a:p>
            <a:r>
              <a:rPr lang="pt-BR" dirty="0"/>
              <a:t> </a:t>
            </a:r>
            <a:r>
              <a:rPr lang="pt-BR" dirty="0" smtClean="0"/>
              <a:t>    </a:t>
            </a:r>
          </a:p>
          <a:p>
            <a:r>
              <a:rPr lang="pt-BR" dirty="0"/>
              <a:t> </a:t>
            </a:r>
            <a:r>
              <a:rPr lang="pt-BR" dirty="0" smtClean="0"/>
              <a:t>   </a:t>
            </a:r>
          </a:p>
          <a:p>
            <a:r>
              <a:rPr lang="pt-BR" dirty="0"/>
              <a:t> </a:t>
            </a:r>
            <a:r>
              <a:rPr lang="pt-BR" dirty="0" smtClean="0"/>
              <a:t> &gt; Em </a:t>
            </a:r>
            <a:r>
              <a:rPr lang="pt-BR" u="sng" dirty="0" smtClean="0"/>
              <a:t>2019</a:t>
            </a:r>
            <a:r>
              <a:rPr lang="pt-BR" dirty="0" smtClean="0"/>
              <a:t>, houve </a:t>
            </a:r>
            <a:r>
              <a:rPr lang="pt-BR" dirty="0"/>
              <a:t>redução de aproximadamente </a:t>
            </a:r>
            <a:r>
              <a:rPr lang="pt-BR" b="1" dirty="0"/>
              <a:t>27%</a:t>
            </a:r>
            <a:r>
              <a:rPr lang="pt-BR" dirty="0"/>
              <a:t> nas emissões atmosféricas de </a:t>
            </a:r>
            <a:r>
              <a:rPr lang="pt-BR" b="1" dirty="0"/>
              <a:t>CO2</a:t>
            </a:r>
            <a:r>
              <a:rPr lang="pt-BR" dirty="0"/>
              <a:t> comparando-se com </a:t>
            </a:r>
            <a:r>
              <a:rPr lang="pt-BR" u="sng" dirty="0" smtClean="0"/>
              <a:t>2018</a:t>
            </a:r>
            <a:r>
              <a:rPr lang="pt-BR" dirty="0"/>
              <a:t>.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6804248" y="5661248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b="1" dirty="0"/>
              <a:t>Referência: Relatório Anual MRS - 2019</a:t>
            </a:r>
          </a:p>
          <a:p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221974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8</a:t>
            </a:fld>
            <a:r>
              <a:rPr lang="pt-BR" smtClean="0"/>
              <a:t> </a:t>
            </a:r>
            <a:endParaRPr lang="pt-BR" dirty="0"/>
          </a:p>
        </p:txBody>
      </p:sp>
      <p:pic>
        <p:nvPicPr>
          <p:cNvPr id="148378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306" y="2204864"/>
            <a:ext cx="3548666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aixaDeTexto 16"/>
          <p:cNvSpPr txBox="1"/>
          <p:nvPr/>
        </p:nvSpPr>
        <p:spPr>
          <a:xfrm>
            <a:off x="899592" y="1562955"/>
            <a:ext cx="2952328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ln>
                  <a:solidFill>
                    <a:schemeClr val="tx1"/>
                  </a:solidFill>
                </a:ln>
              </a:rPr>
              <a:t>FORÇAS</a:t>
            </a:r>
            <a:endParaRPr lang="pt-BR" dirty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4995813" y="1562955"/>
            <a:ext cx="2952328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>
                <a:ln>
                  <a:solidFill>
                    <a:schemeClr val="tx1"/>
                  </a:solidFill>
                </a:ln>
              </a:defRPr>
            </a:lvl1pPr>
          </a:lstStyle>
          <a:p>
            <a:r>
              <a:rPr lang="pt-BR" dirty="0"/>
              <a:t>OPORTUNIDADES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887097" y="3658675"/>
            <a:ext cx="2952328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>
                <a:ln>
                  <a:solidFill>
                    <a:schemeClr val="tx1"/>
                  </a:solidFill>
                </a:ln>
              </a:defRPr>
            </a:lvl1pPr>
          </a:lstStyle>
          <a:p>
            <a:r>
              <a:rPr lang="pt-BR" dirty="0"/>
              <a:t>FRAQUEZAS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5112060" y="3650186"/>
            <a:ext cx="2952328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>
                <a:ln>
                  <a:solidFill>
                    <a:schemeClr val="tx1"/>
                  </a:solidFill>
                </a:ln>
              </a:defRPr>
            </a:lvl1pPr>
          </a:lstStyle>
          <a:p>
            <a:r>
              <a:rPr lang="pt-BR" dirty="0"/>
              <a:t>AMEAÇAS</a:t>
            </a:r>
          </a:p>
        </p:txBody>
      </p:sp>
      <p:cxnSp>
        <p:nvCxnSpPr>
          <p:cNvPr id="21" name="Conector reto 20"/>
          <p:cNvCxnSpPr/>
          <p:nvPr/>
        </p:nvCxnSpPr>
        <p:spPr>
          <a:xfrm>
            <a:off x="4427984" y="1431073"/>
            <a:ext cx="36004" cy="4824536"/>
          </a:xfrm>
          <a:prstGeom prst="line">
            <a:avLst/>
          </a:prstGeom>
          <a:ln w="127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/>
        </p:nvCxnSpPr>
        <p:spPr>
          <a:xfrm>
            <a:off x="359532" y="3401042"/>
            <a:ext cx="8568952" cy="0"/>
          </a:xfrm>
          <a:prstGeom prst="line">
            <a:avLst/>
          </a:prstGeom>
          <a:ln w="127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tângulo de cantos arredondados 30"/>
          <p:cNvSpPr/>
          <p:nvPr/>
        </p:nvSpPr>
        <p:spPr>
          <a:xfrm>
            <a:off x="1619672" y="666002"/>
            <a:ext cx="4968552" cy="504056"/>
          </a:xfrm>
          <a:prstGeom prst="roundRect">
            <a:avLst/>
          </a:prstGeom>
          <a:ln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tx1"/>
                </a:solidFill>
              </a:rPr>
              <a:t>MATRIZ SWOT</a:t>
            </a:r>
            <a:endParaRPr lang="pt-BR" sz="2000" b="1" dirty="0">
              <a:solidFill>
                <a:schemeClr val="tx1"/>
              </a:solidFill>
            </a:endParaRPr>
          </a:p>
        </p:txBody>
      </p:sp>
      <p:sp>
        <p:nvSpPr>
          <p:cNvPr id="34" name="CaixaDeTexto 33"/>
          <p:cNvSpPr txBox="1"/>
          <p:nvPr/>
        </p:nvSpPr>
        <p:spPr>
          <a:xfrm rot="16200000">
            <a:off x="-1197608" y="3216376"/>
            <a:ext cx="28438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ln>
                  <a:solidFill>
                    <a:schemeClr val="tx1"/>
                  </a:solidFill>
                </a:ln>
              </a:rPr>
              <a:t>AMBIENTE   INTERNO</a:t>
            </a:r>
            <a:endParaRPr lang="pt-BR" dirty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35" name="CaixaDeTexto 34"/>
          <p:cNvSpPr txBox="1"/>
          <p:nvPr/>
        </p:nvSpPr>
        <p:spPr>
          <a:xfrm rot="5400000">
            <a:off x="7537429" y="3169526"/>
            <a:ext cx="28438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ln>
                  <a:solidFill>
                    <a:schemeClr val="tx1"/>
                  </a:solidFill>
                </a:ln>
              </a:rPr>
              <a:t>AMBIENTE   EXTERNO</a:t>
            </a:r>
            <a:endParaRPr lang="pt-BR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483782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343" y="2132856"/>
            <a:ext cx="4128893" cy="1108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3783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70" y="4365104"/>
            <a:ext cx="32956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3784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9728" y="4322241"/>
            <a:ext cx="3314700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8607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37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837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837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3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837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837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37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837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837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37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837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837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532AB831-8E1D-48BB-8F4E-1A363805EA6D}" type="slidenum">
              <a:rPr lang="pt-BR" smtClean="0"/>
              <a:pPr>
                <a:defRPr/>
              </a:pPr>
              <a:t>9</a:t>
            </a:fld>
            <a:r>
              <a:rPr lang="pt-BR" smtClean="0"/>
              <a:t> </a:t>
            </a:r>
            <a:endParaRPr lang="pt-BR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20997">
            <a:off x="46657" y="566819"/>
            <a:ext cx="4693899" cy="972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275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217735">
            <a:off x="5068446" y="579633"/>
            <a:ext cx="3586660" cy="1013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7968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121354">
            <a:off x="82278" y="3391729"/>
            <a:ext cx="4219857" cy="1616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7968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63649">
            <a:off x="4391163" y="3792665"/>
            <a:ext cx="4250564" cy="1698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192234">
            <a:off x="1763688" y="5734068"/>
            <a:ext cx="3667936" cy="66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79684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628800"/>
            <a:ext cx="4848540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530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/&gt;&lt;m_precDefaultPercent/&gt;&lt;m_precDefaultDate/&gt;&lt;m_precDefaultYear/&gt;&lt;m_precDefaultQuarter&gt;&lt;m_strFormatTime&gt;Q%5&lt;/m_strFormatTime&gt;&lt;/m_precDefaultQuarter&gt;&lt;m_precDefaultMonth/&gt;&lt;m_precDefaultWeek&gt;&lt;m_strFormatTime&gt;%d.&lt;/m_strFormatTime&gt;&lt;/m_precDefaultWeek&gt;&lt;m_precDefaultDay&gt;&lt;m_strFormatTime&gt;%#d&lt;/m_strFormatTime&gt;&lt;/m_precDefaultDay&gt;&lt;m_mruColor&gt;&lt;m_vecMRU length=&quot;3&quot;&gt;&lt;elem m_fUsage=&quot;1.72900000000000010000E+000&quot;&gt;&lt;m_ppcolschidx val=&quot;0&quot;/&gt;&lt;m_rgb r=&quot;17&quot; g=&quot;7d&quot; b=&quot;3c&quot;/&gt;&lt;m_nBrightness val=&quot;0&quot;/&gt;&lt;/elem&gt;&lt;elem m_fUsage=&quot;9.00000000000000020000E-001&quot;&gt;&lt;m_ppcolschidx val=&quot;0&quot;/&gt;&lt;m_rgb r=&quot;fb&quot; g=&quot;f5&quot; b=&quot;37&quot;/&gt;&lt;m_nBrightness val=&quot;0&quot;/&gt;&lt;/elem&gt;&lt;elem m_fUsage=&quot;8.10000000000000050000E-001&quot;&gt;&lt;m_ppcolschidx val=&quot;0&quot;/&gt;&lt;m_rgb r=&quot;ff&quot; g=&quot;e8&quot; b=&quot;64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Ak7erY_kin_DVQt24z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peWhlx1U69XPA.Z2VD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UpCkguKUmNQb4GoI5o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UpCkguKUmNQb4GoI5o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peWhlx1U69XPA.Z2VDqw"/>
</p:tagLst>
</file>

<file path=ppt/theme/theme1.xml><?xml version="1.0" encoding="utf-8"?>
<a:theme xmlns:a="http://schemas.openxmlformats.org/drawingml/2006/main" name="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20</TotalTime>
  <Words>632</Words>
  <Application>Microsoft Office PowerPoint</Application>
  <PresentationFormat>Apresentação na tela (4:3)</PresentationFormat>
  <Paragraphs>123</Paragraphs>
  <Slides>1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3" baseType="lpstr">
      <vt:lpstr>Personalizar design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abricio</dc:creator>
  <cp:lastModifiedBy>Letícia Cabral</cp:lastModifiedBy>
  <cp:revision>786</cp:revision>
  <dcterms:created xsi:type="dcterms:W3CDTF">2015-08-21T19:41:01Z</dcterms:created>
  <dcterms:modified xsi:type="dcterms:W3CDTF">2020-04-21T13:41:19Z</dcterms:modified>
</cp:coreProperties>
</file>